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media/image20.jpg" ContentType="image/jpeg"/>
  <Override PartName="/ppt/tags/tag9.xml" ContentType="application/vnd.openxmlformats-officedocument.presentationml.tags+xml"/>
  <Override PartName="/ppt/media/image23.jpg" ContentType="image/jpeg"/>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media/image37.jpg" ContentType="image/jpeg"/>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6"/>
  </p:notesMasterIdLst>
  <p:handoutMasterIdLst>
    <p:handoutMasterId r:id="rId47"/>
  </p:handoutMasterIdLst>
  <p:sldIdLst>
    <p:sldId id="141169004" r:id="rId6"/>
    <p:sldId id="141169013" r:id="rId7"/>
    <p:sldId id="141169018" r:id="rId8"/>
    <p:sldId id="141169012" r:id="rId9"/>
    <p:sldId id="141169011" r:id="rId10"/>
    <p:sldId id="141169016" r:id="rId11"/>
    <p:sldId id="141169022" r:id="rId12"/>
    <p:sldId id="141169061" r:id="rId13"/>
    <p:sldId id="141169060" r:id="rId14"/>
    <p:sldId id="141169046" r:id="rId15"/>
    <p:sldId id="141169047" r:id="rId16"/>
    <p:sldId id="141169048" r:id="rId17"/>
    <p:sldId id="141169049" r:id="rId18"/>
    <p:sldId id="141169050" r:id="rId19"/>
    <p:sldId id="141169021" r:id="rId20"/>
    <p:sldId id="141169020" r:id="rId21"/>
    <p:sldId id="141169062" r:id="rId22"/>
    <p:sldId id="141169052" r:id="rId23"/>
    <p:sldId id="141169051" r:id="rId24"/>
    <p:sldId id="141169037" r:id="rId25"/>
    <p:sldId id="141169063" r:id="rId26"/>
    <p:sldId id="141169053" r:id="rId27"/>
    <p:sldId id="141169054" r:id="rId28"/>
    <p:sldId id="141169034" r:id="rId29"/>
    <p:sldId id="141169064" r:id="rId30"/>
    <p:sldId id="141169055" r:id="rId31"/>
    <p:sldId id="141169056" r:id="rId32"/>
    <p:sldId id="141169031" r:id="rId33"/>
    <p:sldId id="141169066" r:id="rId34"/>
    <p:sldId id="141169057" r:id="rId35"/>
    <p:sldId id="141169058" r:id="rId36"/>
    <p:sldId id="141169028" r:id="rId37"/>
    <p:sldId id="141169068" r:id="rId38"/>
    <p:sldId id="141169059" r:id="rId39"/>
    <p:sldId id="141169009" r:id="rId40"/>
    <p:sldId id="141169008" r:id="rId41"/>
    <p:sldId id="141169027" r:id="rId42"/>
    <p:sldId id="141169019" r:id="rId43"/>
    <p:sldId id="141169005" r:id="rId44"/>
    <p:sldId id="141169007" r:id="rId4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2"/>
            <p14:sldId id="141169011"/>
            <p14:sldId id="141169016"/>
            <p14:sldId id="141169022"/>
            <p14:sldId id="141169061"/>
            <p14:sldId id="141169060"/>
            <p14:sldId id="141169046"/>
            <p14:sldId id="141169047"/>
            <p14:sldId id="141169048"/>
            <p14:sldId id="141169049"/>
            <p14:sldId id="141169050"/>
            <p14:sldId id="141169021"/>
            <p14:sldId id="141169020"/>
            <p14:sldId id="141169062"/>
            <p14:sldId id="141169052"/>
            <p14:sldId id="141169051"/>
            <p14:sldId id="141169037"/>
            <p14:sldId id="141169063"/>
            <p14:sldId id="141169053"/>
            <p14:sldId id="141169054"/>
            <p14:sldId id="141169034"/>
            <p14:sldId id="141169064"/>
            <p14:sldId id="141169055"/>
            <p14:sldId id="141169056"/>
            <p14:sldId id="141169031"/>
            <p14:sldId id="141169066"/>
            <p14:sldId id="141169057"/>
            <p14:sldId id="141169058"/>
            <p14:sldId id="141169028"/>
            <p14:sldId id="141169068"/>
            <p14:sldId id="141169059"/>
            <p14:sldId id="141169009"/>
            <p14:sldId id="141169008"/>
            <p14:sldId id="141169027"/>
            <p14:sldId id="14116901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205"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AF69D6-81D2-4BD7-BA6C-55B9BBFC9750}" v="154" dt="2026-02-11T09:53:13.994"/>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16" autoAdjust="0"/>
    <p:restoredTop sz="97020" autoAdjust="0"/>
  </p:normalViewPr>
  <p:slideViewPr>
    <p:cSldViewPr snapToGrid="0" snapToObjects="1" showGuides="1">
      <p:cViewPr varScale="1">
        <p:scale>
          <a:sx n="66" d="100"/>
          <a:sy n="66" d="100"/>
        </p:scale>
        <p:origin x="912" y="272"/>
      </p:cViewPr>
      <p:guideLst>
        <p:guide pos="1708"/>
        <p:guide pos="3205"/>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5/10/relationships/revisionInfo" Target="revisionInfo.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addSld delSld modSld modSection">
      <pc:chgData name="Mascha Theiler" userId="a0f496a5-efc4-4b52-959d-5e95987cae8c" providerId="ADAL" clId="{46BE184E-840E-48D3-B624-C448522A216F}" dt="2026-02-11T09:53:13.994" v="2903"/>
      <pc:docMkLst>
        <pc:docMk/>
      </pc:docMkLst>
      <pc:sldChg chg="addSp modSp mod">
        <pc:chgData name="Mascha Theiler" userId="a0f496a5-efc4-4b52-959d-5e95987cae8c" providerId="ADAL" clId="{46BE184E-840E-48D3-B624-C448522A216F}" dt="2026-02-11T09:52:28.932" v="2887" actId="20577"/>
        <pc:sldMkLst>
          <pc:docMk/>
          <pc:sldMk cId="212893902" sldId="141169004"/>
        </pc:sldMkLst>
        <pc:spChg chg="mod">
          <ac:chgData name="Mascha Theiler" userId="a0f496a5-efc4-4b52-959d-5e95987cae8c" providerId="ADAL" clId="{46BE184E-840E-48D3-B624-C448522A216F}" dt="2026-02-11T09:52:28.932" v="2887" actId="20577"/>
          <ac:spMkLst>
            <pc:docMk/>
            <pc:sldMk cId="212893902" sldId="141169004"/>
            <ac:spMk id="3" creationId="{DBBC741F-F36E-AFA0-3CD1-CD890CC4089C}"/>
          </ac:spMkLst>
        </pc:spChg>
        <pc:spChg chg="mod">
          <ac:chgData name="Mascha Theiler" userId="a0f496a5-efc4-4b52-959d-5e95987cae8c" providerId="ADAL" clId="{46BE184E-840E-48D3-B624-C448522A216F}" dt="2026-02-10T08:10:25.059" v="2"/>
          <ac:spMkLst>
            <pc:docMk/>
            <pc:sldMk cId="212893902" sldId="141169004"/>
            <ac:spMk id="5" creationId="{CC410DC2-7478-767E-6704-A9ADE8F66B15}"/>
          </ac:spMkLst>
        </pc:spChg>
        <pc:picChg chg="add mod">
          <ac:chgData name="Mascha Theiler" userId="a0f496a5-efc4-4b52-959d-5e95987cae8c" providerId="ADAL" clId="{46BE184E-840E-48D3-B624-C448522A216F}" dt="2026-02-10T08:09:55.461" v="0"/>
          <ac:picMkLst>
            <pc:docMk/>
            <pc:sldMk cId="212893902" sldId="141169004"/>
            <ac:picMk id="2" creationId="{B512BB73-8949-25AC-D444-B7FB71B275B0}"/>
          </ac:picMkLst>
        </pc:picChg>
        <pc:picChg chg="add mod">
          <ac:chgData name="Mascha Theiler" userId="a0f496a5-efc4-4b52-959d-5e95987cae8c" providerId="ADAL" clId="{46BE184E-840E-48D3-B624-C448522A216F}" dt="2026-02-10T08:10:00.812" v="1"/>
          <ac:picMkLst>
            <pc:docMk/>
            <pc:sldMk cId="212893902" sldId="141169004"/>
            <ac:picMk id="4" creationId="{962C71F2-355E-C6C9-2B04-2B4511C148DC}"/>
          </ac:picMkLst>
        </pc:picChg>
      </pc:sldChg>
      <pc:sldChg chg="modSp mod">
        <pc:chgData name="Mascha Theiler" userId="a0f496a5-efc4-4b52-959d-5e95987cae8c" providerId="ADAL" clId="{46BE184E-840E-48D3-B624-C448522A216F}" dt="2026-02-11T09:21:06.517" v="2609" actId="12"/>
        <pc:sldMkLst>
          <pc:docMk/>
          <pc:sldMk cId="806316510" sldId="141169005"/>
        </pc:sldMkLst>
        <pc:spChg chg="mod">
          <ac:chgData name="Mascha Theiler" userId="a0f496a5-efc4-4b52-959d-5e95987cae8c" providerId="ADAL" clId="{46BE184E-840E-48D3-B624-C448522A216F}" dt="2026-02-11T09:20:57.708" v="2607"/>
          <ac:spMkLst>
            <pc:docMk/>
            <pc:sldMk cId="806316510" sldId="141169005"/>
            <ac:spMk id="2" creationId="{C7CFFD2A-3290-0E0C-33BD-371696BE2862}"/>
          </ac:spMkLst>
        </pc:spChg>
        <pc:spChg chg="mod">
          <ac:chgData name="Mascha Theiler" userId="a0f496a5-efc4-4b52-959d-5e95987cae8c" providerId="ADAL" clId="{46BE184E-840E-48D3-B624-C448522A216F}" dt="2026-02-11T09:21:06.517" v="2609" actId="12"/>
          <ac:spMkLst>
            <pc:docMk/>
            <pc:sldMk cId="806316510" sldId="141169005"/>
            <ac:spMk id="3" creationId="{6B84C24E-A26E-1008-29AE-2AC4F565872B}"/>
          </ac:spMkLst>
        </pc:spChg>
        <pc:spChg chg="mod">
          <ac:chgData name="Mascha Theiler" userId="a0f496a5-efc4-4b52-959d-5e95987cae8c" providerId="ADAL" clId="{46BE184E-840E-48D3-B624-C448522A216F}" dt="2026-02-11T09:20:51.330" v="2606" actId="20577"/>
          <ac:spMkLst>
            <pc:docMk/>
            <pc:sldMk cId="806316510" sldId="141169005"/>
            <ac:spMk id="5" creationId="{9385D502-DD55-F03A-83BC-702479766347}"/>
          </ac:spMkLst>
        </pc:spChg>
      </pc:sldChg>
      <pc:sldChg chg="modSp mod">
        <pc:chgData name="Mascha Theiler" userId="a0f496a5-efc4-4b52-959d-5e95987cae8c" providerId="ADAL" clId="{46BE184E-840E-48D3-B624-C448522A216F}" dt="2026-02-11T09:20:42.561" v="2585" actId="20577"/>
        <pc:sldMkLst>
          <pc:docMk/>
          <pc:sldMk cId="1631104640" sldId="141169007"/>
        </pc:sldMkLst>
        <pc:spChg chg="mod">
          <ac:chgData name="Mascha Theiler" userId="a0f496a5-efc4-4b52-959d-5e95987cae8c" providerId="ADAL" clId="{46BE184E-840E-48D3-B624-C448522A216F}" dt="2026-02-11T09:20:28.958" v="2565"/>
          <ac:spMkLst>
            <pc:docMk/>
            <pc:sldMk cId="1631104640" sldId="141169007"/>
            <ac:spMk id="2" creationId="{5DF1DF01-7253-5EBE-A127-EEA0E1CB73FC}"/>
          </ac:spMkLst>
        </pc:spChg>
        <pc:spChg chg="mod">
          <ac:chgData name="Mascha Theiler" userId="a0f496a5-efc4-4b52-959d-5e95987cae8c" providerId="ADAL" clId="{46BE184E-840E-48D3-B624-C448522A216F}" dt="2026-02-11T09:20:37.921" v="2566"/>
          <ac:spMkLst>
            <pc:docMk/>
            <pc:sldMk cId="1631104640" sldId="141169007"/>
            <ac:spMk id="3" creationId="{E47E1585-A18C-D362-EBDE-7964974C99B3}"/>
          </ac:spMkLst>
        </pc:spChg>
        <pc:spChg chg="mod">
          <ac:chgData name="Mascha Theiler" userId="a0f496a5-efc4-4b52-959d-5e95987cae8c" providerId="ADAL" clId="{46BE184E-840E-48D3-B624-C448522A216F}" dt="2026-02-11T09:20:42.561" v="2585" actId="20577"/>
          <ac:spMkLst>
            <pc:docMk/>
            <pc:sldMk cId="1631104640" sldId="141169007"/>
            <ac:spMk id="5" creationId="{4AE3D8A9-7D80-96BD-094B-972A478159EF}"/>
          </ac:spMkLst>
        </pc:spChg>
      </pc:sldChg>
      <pc:sldChg chg="modSp mod">
        <pc:chgData name="Mascha Theiler" userId="a0f496a5-efc4-4b52-959d-5e95987cae8c" providerId="ADAL" clId="{46BE184E-840E-48D3-B624-C448522A216F}" dt="2026-02-11T09:20:00.178" v="2539" actId="20577"/>
        <pc:sldMkLst>
          <pc:docMk/>
          <pc:sldMk cId="3272722806" sldId="141169008"/>
        </pc:sldMkLst>
        <pc:spChg chg="mod">
          <ac:chgData name="Mascha Theiler" userId="a0f496a5-efc4-4b52-959d-5e95987cae8c" providerId="ADAL" clId="{46BE184E-840E-48D3-B624-C448522A216F}" dt="2026-02-11T09:19:54.173" v="2520"/>
          <ac:spMkLst>
            <pc:docMk/>
            <pc:sldMk cId="3272722806" sldId="141169008"/>
            <ac:spMk id="2" creationId="{ECFCEDCD-DE5B-D060-6C03-CC7A1E1A7A29}"/>
          </ac:spMkLst>
        </pc:spChg>
        <pc:spChg chg="mod">
          <ac:chgData name="Mascha Theiler" userId="a0f496a5-efc4-4b52-959d-5e95987cae8c" providerId="ADAL" clId="{46BE184E-840E-48D3-B624-C448522A216F}" dt="2026-02-11T09:20:00.178" v="2539" actId="20577"/>
          <ac:spMkLst>
            <pc:docMk/>
            <pc:sldMk cId="3272722806" sldId="141169008"/>
            <ac:spMk id="5" creationId="{0B058973-BE94-6C33-CAC8-171B308BF357}"/>
          </ac:spMkLst>
        </pc:spChg>
      </pc:sldChg>
      <pc:sldChg chg="modSp mod">
        <pc:chgData name="Mascha Theiler" userId="a0f496a5-efc4-4b52-959d-5e95987cae8c" providerId="ADAL" clId="{46BE184E-840E-48D3-B624-C448522A216F}" dt="2026-02-11T09:19:42.778" v="2519" actId="1076"/>
        <pc:sldMkLst>
          <pc:docMk/>
          <pc:sldMk cId="3989882371" sldId="141169009"/>
        </pc:sldMkLst>
        <pc:spChg chg="mod">
          <ac:chgData name="Mascha Theiler" userId="a0f496a5-efc4-4b52-959d-5e95987cae8c" providerId="ADAL" clId="{46BE184E-840E-48D3-B624-C448522A216F}" dt="2026-02-11T09:17:48.611" v="2481"/>
          <ac:spMkLst>
            <pc:docMk/>
            <pc:sldMk cId="3989882371" sldId="141169009"/>
            <ac:spMk id="2" creationId="{97374FCA-C95A-8B35-75FE-CA1FD25336B6}"/>
          </ac:spMkLst>
        </pc:spChg>
        <pc:spChg chg="mod">
          <ac:chgData name="Mascha Theiler" userId="a0f496a5-efc4-4b52-959d-5e95987cae8c" providerId="ADAL" clId="{46BE184E-840E-48D3-B624-C448522A216F}" dt="2026-02-11T09:19:42.778" v="2519" actId="1076"/>
          <ac:spMkLst>
            <pc:docMk/>
            <pc:sldMk cId="3989882371" sldId="141169009"/>
            <ac:spMk id="3" creationId="{03920B92-2D1F-BF6D-82B0-B2635C50A8F6}"/>
          </ac:spMkLst>
        </pc:spChg>
        <pc:spChg chg="mod">
          <ac:chgData name="Mascha Theiler" userId="a0f496a5-efc4-4b52-959d-5e95987cae8c" providerId="ADAL" clId="{46BE184E-840E-48D3-B624-C448522A216F}" dt="2026-02-11T09:17:32.681" v="2480" actId="20577"/>
          <ac:spMkLst>
            <pc:docMk/>
            <pc:sldMk cId="3989882371" sldId="141169009"/>
            <ac:spMk id="5" creationId="{C0382885-ED17-380D-05A5-D5E665C8636A}"/>
          </ac:spMkLst>
        </pc:spChg>
      </pc:sldChg>
      <pc:sldChg chg="addSp delSp modSp mod">
        <pc:chgData name="Mascha Theiler" userId="a0f496a5-efc4-4b52-959d-5e95987cae8c" providerId="ADAL" clId="{46BE184E-840E-48D3-B624-C448522A216F}" dt="2026-02-10T09:13:58.548" v="281" actId="20577"/>
        <pc:sldMkLst>
          <pc:docMk/>
          <pc:sldMk cId="1744592103" sldId="141169011"/>
        </pc:sldMkLst>
        <pc:spChg chg="mod">
          <ac:chgData name="Mascha Theiler" userId="a0f496a5-efc4-4b52-959d-5e95987cae8c" providerId="ADAL" clId="{46BE184E-840E-48D3-B624-C448522A216F}" dt="2026-02-10T09:13:04.554" v="204" actId="20577"/>
          <ac:spMkLst>
            <pc:docMk/>
            <pc:sldMk cId="1744592103" sldId="141169011"/>
            <ac:spMk id="2" creationId="{BF3D0F9A-EF92-E67A-7DE9-06859EB206C7}"/>
          </ac:spMkLst>
        </pc:spChg>
        <pc:spChg chg="mod">
          <ac:chgData name="Mascha Theiler" userId="a0f496a5-efc4-4b52-959d-5e95987cae8c" providerId="ADAL" clId="{46BE184E-840E-48D3-B624-C448522A216F}" dt="2026-02-10T09:13:58.548" v="281" actId="20577"/>
          <ac:spMkLst>
            <pc:docMk/>
            <pc:sldMk cId="1744592103" sldId="141169011"/>
            <ac:spMk id="3" creationId="{FBEC2812-1438-09C8-B7AC-452C8E3708F5}"/>
          </ac:spMkLst>
        </pc:spChg>
        <pc:spChg chg="mod">
          <ac:chgData name="Mascha Theiler" userId="a0f496a5-efc4-4b52-959d-5e95987cae8c" providerId="ADAL" clId="{46BE184E-840E-48D3-B624-C448522A216F}" dt="2026-02-10T08:55:09.579" v="199" actId="20577"/>
          <ac:spMkLst>
            <pc:docMk/>
            <pc:sldMk cId="1744592103" sldId="141169011"/>
            <ac:spMk id="5" creationId="{3E04C794-D213-7E6E-3E65-83C8D4C8722C}"/>
          </ac:spMkLst>
        </pc:spChg>
        <pc:picChg chg="del">
          <ac:chgData name="Mascha Theiler" userId="a0f496a5-efc4-4b52-959d-5e95987cae8c" providerId="ADAL" clId="{46BE184E-840E-48D3-B624-C448522A216F}" dt="2026-02-10T08:54:56.402" v="175" actId="478"/>
          <ac:picMkLst>
            <pc:docMk/>
            <pc:sldMk cId="1744592103" sldId="141169011"/>
            <ac:picMk id="6" creationId="{2FA9F436-42F9-F7F4-3049-54866A20BBD8}"/>
          </ac:picMkLst>
        </pc:picChg>
        <pc:picChg chg="add mod">
          <ac:chgData name="Mascha Theiler" userId="a0f496a5-efc4-4b52-959d-5e95987cae8c" providerId="ADAL" clId="{46BE184E-840E-48D3-B624-C448522A216F}" dt="2026-02-10T08:55:03.457" v="178" actId="14100"/>
          <ac:picMkLst>
            <pc:docMk/>
            <pc:sldMk cId="1744592103" sldId="141169011"/>
            <ac:picMk id="8" creationId="{536F3A04-912F-F70B-DF1E-FEC790555DBC}"/>
          </ac:picMkLst>
        </pc:picChg>
      </pc:sldChg>
      <pc:sldChg chg="modSp mod">
        <pc:chgData name="Mascha Theiler" userId="a0f496a5-efc4-4b52-959d-5e95987cae8c" providerId="ADAL" clId="{46BE184E-840E-48D3-B624-C448522A216F}" dt="2026-02-11T09:53:13.994" v="2903"/>
        <pc:sldMkLst>
          <pc:docMk/>
          <pc:sldMk cId="741183918" sldId="141169012"/>
        </pc:sldMkLst>
        <pc:spChg chg="mod">
          <ac:chgData name="Mascha Theiler" userId="a0f496a5-efc4-4b52-959d-5e95987cae8c" providerId="ADAL" clId="{46BE184E-840E-48D3-B624-C448522A216F}" dt="2026-02-11T09:53:13.994" v="2903"/>
          <ac:spMkLst>
            <pc:docMk/>
            <pc:sldMk cId="741183918" sldId="141169012"/>
            <ac:spMk id="2" creationId="{44DDADF5-A384-E805-D55F-2EAF627D0934}"/>
          </ac:spMkLst>
        </pc:spChg>
        <pc:spChg chg="mod">
          <ac:chgData name="Mascha Theiler" userId="a0f496a5-efc4-4b52-959d-5e95987cae8c" providerId="ADAL" clId="{46BE184E-840E-48D3-B624-C448522A216F}" dt="2026-02-10T13:31:47.074" v="907" actId="20577"/>
          <ac:spMkLst>
            <pc:docMk/>
            <pc:sldMk cId="741183918" sldId="141169012"/>
            <ac:spMk id="3" creationId="{6C6A02F9-5689-F798-E8F4-24F2AFE22EAC}"/>
          </ac:spMkLst>
        </pc:spChg>
        <pc:spChg chg="mod">
          <ac:chgData name="Mascha Theiler" userId="a0f496a5-efc4-4b52-959d-5e95987cae8c" providerId="ADAL" clId="{46BE184E-840E-48D3-B624-C448522A216F}" dt="2026-02-10T08:25:08.472" v="141" actId="20577"/>
          <ac:spMkLst>
            <pc:docMk/>
            <pc:sldMk cId="741183918" sldId="141169012"/>
            <ac:spMk id="5" creationId="{50C70217-1BC1-C4DF-3DCE-06D3D5E4F599}"/>
          </ac:spMkLst>
        </pc:spChg>
      </pc:sldChg>
      <pc:sldChg chg="modSp mod">
        <pc:chgData name="Mascha Theiler" userId="a0f496a5-efc4-4b52-959d-5e95987cae8c" providerId="ADAL" clId="{46BE184E-840E-48D3-B624-C448522A216F}" dt="2026-02-10T08:23:45.391" v="49"/>
        <pc:sldMkLst>
          <pc:docMk/>
          <pc:sldMk cId="3171159530" sldId="141169013"/>
        </pc:sldMkLst>
        <pc:spChg chg="mod">
          <ac:chgData name="Mascha Theiler" userId="a0f496a5-efc4-4b52-959d-5e95987cae8c" providerId="ADAL" clId="{46BE184E-840E-48D3-B624-C448522A216F}" dt="2026-02-10T08:23:45.391" v="49"/>
          <ac:spMkLst>
            <pc:docMk/>
            <pc:sldMk cId="3171159530" sldId="141169013"/>
            <ac:spMk id="2" creationId="{C3945439-1C16-BCB2-4C79-260618DAD0B2}"/>
          </ac:spMkLst>
        </pc:spChg>
        <pc:spChg chg="mod">
          <ac:chgData name="Mascha Theiler" userId="a0f496a5-efc4-4b52-959d-5e95987cae8c" providerId="ADAL" clId="{46BE184E-840E-48D3-B624-C448522A216F}" dt="2026-02-10T08:22:28.013" v="48" actId="20577"/>
          <ac:spMkLst>
            <pc:docMk/>
            <pc:sldMk cId="3171159530" sldId="141169013"/>
            <ac:spMk id="3" creationId="{C21A7579-B93C-DD18-A750-BECCE46D9BF0}"/>
          </ac:spMkLst>
        </pc:spChg>
        <pc:spChg chg="mod">
          <ac:chgData name="Mascha Theiler" userId="a0f496a5-efc4-4b52-959d-5e95987cae8c" providerId="ADAL" clId="{46BE184E-840E-48D3-B624-C448522A216F}" dt="2026-02-10T08:10:39.970" v="43" actId="20577"/>
          <ac:spMkLst>
            <pc:docMk/>
            <pc:sldMk cId="3171159530" sldId="141169013"/>
            <ac:spMk id="5" creationId="{AA542CC3-E793-79D5-118B-B5A042425988}"/>
          </ac:spMkLst>
        </pc:spChg>
      </pc:sldChg>
      <pc:sldChg chg="modSp mod">
        <pc:chgData name="Mascha Theiler" userId="a0f496a5-efc4-4b52-959d-5e95987cae8c" providerId="ADAL" clId="{46BE184E-840E-48D3-B624-C448522A216F}" dt="2026-02-10T09:16:45.532" v="335" actId="20577"/>
        <pc:sldMkLst>
          <pc:docMk/>
          <pc:sldMk cId="3920161085" sldId="141169016"/>
        </pc:sldMkLst>
        <pc:spChg chg="mod">
          <ac:chgData name="Mascha Theiler" userId="a0f496a5-efc4-4b52-959d-5e95987cae8c" providerId="ADAL" clId="{46BE184E-840E-48D3-B624-C448522A216F}" dt="2026-02-10T09:14:34.463" v="323"/>
          <ac:spMkLst>
            <pc:docMk/>
            <pc:sldMk cId="3920161085" sldId="141169016"/>
            <ac:spMk id="2" creationId="{70798453-C997-95A2-1CE2-DB06558C9443}"/>
          </ac:spMkLst>
        </pc:spChg>
        <pc:spChg chg="mod">
          <ac:chgData name="Mascha Theiler" userId="a0f496a5-efc4-4b52-959d-5e95987cae8c" providerId="ADAL" clId="{46BE184E-840E-48D3-B624-C448522A216F}" dt="2026-02-10T09:16:45.532" v="335" actId="20577"/>
          <ac:spMkLst>
            <pc:docMk/>
            <pc:sldMk cId="3920161085" sldId="141169016"/>
            <ac:spMk id="3" creationId="{E1134C37-16BD-2DC0-EB07-DC15D0ECA40D}"/>
          </ac:spMkLst>
        </pc:spChg>
        <pc:spChg chg="mod">
          <ac:chgData name="Mascha Theiler" userId="a0f496a5-efc4-4b52-959d-5e95987cae8c" providerId="ADAL" clId="{46BE184E-840E-48D3-B624-C448522A216F}" dt="2026-02-10T09:14:22.490" v="322" actId="20577"/>
          <ac:spMkLst>
            <pc:docMk/>
            <pc:sldMk cId="3920161085" sldId="141169016"/>
            <ac:spMk id="5" creationId="{E43EBFF0-ABE3-9897-CEBC-1DB5F57EDFEE}"/>
          </ac:spMkLst>
        </pc:spChg>
      </pc:sldChg>
      <pc:sldChg chg="modSp mod">
        <pc:chgData name="Mascha Theiler" userId="a0f496a5-efc4-4b52-959d-5e95987cae8c" providerId="ADAL" clId="{46BE184E-840E-48D3-B624-C448522A216F}" dt="2026-02-10T08:24:55.017" v="98"/>
        <pc:sldMkLst>
          <pc:docMk/>
          <pc:sldMk cId="263958080" sldId="141169018"/>
        </pc:sldMkLst>
        <pc:spChg chg="mod">
          <ac:chgData name="Mascha Theiler" userId="a0f496a5-efc4-4b52-959d-5e95987cae8c" providerId="ADAL" clId="{46BE184E-840E-48D3-B624-C448522A216F}" dt="2026-02-10T08:24:55.017" v="98"/>
          <ac:spMkLst>
            <pc:docMk/>
            <pc:sldMk cId="263958080" sldId="141169018"/>
            <ac:spMk id="2" creationId="{1EC2DDDD-ACAF-61EF-B64D-250214EF3B1E}"/>
          </ac:spMkLst>
        </pc:spChg>
        <pc:spChg chg="mod">
          <ac:chgData name="Mascha Theiler" userId="a0f496a5-efc4-4b52-959d-5e95987cae8c" providerId="ADAL" clId="{46BE184E-840E-48D3-B624-C448522A216F}" dt="2026-02-10T08:24:12.749" v="52" actId="113"/>
          <ac:spMkLst>
            <pc:docMk/>
            <pc:sldMk cId="263958080" sldId="141169018"/>
            <ac:spMk id="3" creationId="{5CF55C2E-5172-48EC-D8E3-6C4AEC2D483E}"/>
          </ac:spMkLst>
        </pc:spChg>
        <pc:spChg chg="mod">
          <ac:chgData name="Mascha Theiler" userId="a0f496a5-efc4-4b52-959d-5e95987cae8c" providerId="ADAL" clId="{46BE184E-840E-48D3-B624-C448522A216F}" dt="2026-02-10T08:24:37.241" v="97" actId="20577"/>
          <ac:spMkLst>
            <pc:docMk/>
            <pc:sldMk cId="263958080" sldId="141169018"/>
            <ac:spMk id="5" creationId="{384444AD-9323-FFE3-7A5A-933A50629F3B}"/>
          </ac:spMkLst>
        </pc:spChg>
      </pc:sldChg>
      <pc:sldChg chg="modSp mod">
        <pc:chgData name="Mascha Theiler" userId="a0f496a5-efc4-4b52-959d-5e95987cae8c" providerId="ADAL" clId="{46BE184E-840E-48D3-B624-C448522A216F}" dt="2026-02-11T09:23:25.590" v="2704" actId="20577"/>
        <pc:sldMkLst>
          <pc:docMk/>
          <pc:sldMk cId="970333773" sldId="141169019"/>
        </pc:sldMkLst>
        <pc:spChg chg="mod">
          <ac:chgData name="Mascha Theiler" userId="a0f496a5-efc4-4b52-959d-5e95987cae8c" providerId="ADAL" clId="{46BE184E-840E-48D3-B624-C448522A216F}" dt="2026-02-11T09:21:14.174" v="2610"/>
          <ac:spMkLst>
            <pc:docMk/>
            <pc:sldMk cId="970333773" sldId="141169019"/>
            <ac:spMk id="2" creationId="{0FD4C692-C4AE-9B18-53A3-7170A9E02079}"/>
          </ac:spMkLst>
        </pc:spChg>
        <pc:spChg chg="mod">
          <ac:chgData name="Mascha Theiler" userId="a0f496a5-efc4-4b52-959d-5e95987cae8c" providerId="ADAL" clId="{46BE184E-840E-48D3-B624-C448522A216F}" dt="2026-02-11T09:23:12.615" v="2685" actId="20577"/>
          <ac:spMkLst>
            <pc:docMk/>
            <pc:sldMk cId="970333773" sldId="141169019"/>
            <ac:spMk id="3" creationId="{B63E1721-A07C-ED4A-8D78-5B7129364AEB}"/>
          </ac:spMkLst>
        </pc:spChg>
        <pc:spChg chg="mod">
          <ac:chgData name="Mascha Theiler" userId="a0f496a5-efc4-4b52-959d-5e95987cae8c" providerId="ADAL" clId="{46BE184E-840E-48D3-B624-C448522A216F}" dt="2026-02-11T09:23:25.590" v="2704" actId="20577"/>
          <ac:spMkLst>
            <pc:docMk/>
            <pc:sldMk cId="970333773" sldId="141169019"/>
            <ac:spMk id="5" creationId="{42B35813-83D4-01C5-69CD-6825353FCFA1}"/>
          </ac:spMkLst>
        </pc:spChg>
      </pc:sldChg>
      <pc:sldChg chg="modSp mod">
        <pc:chgData name="Mascha Theiler" userId="a0f496a5-efc4-4b52-959d-5e95987cae8c" providerId="ADAL" clId="{46BE184E-840E-48D3-B624-C448522A216F}" dt="2026-02-10T13:32:06.013" v="910" actId="113"/>
        <pc:sldMkLst>
          <pc:docMk/>
          <pc:sldMk cId="472957761" sldId="141169020"/>
        </pc:sldMkLst>
        <pc:spChg chg="mod">
          <ac:chgData name="Mascha Theiler" userId="a0f496a5-efc4-4b52-959d-5e95987cae8c" providerId="ADAL" clId="{46BE184E-840E-48D3-B624-C448522A216F}" dt="2026-02-10T13:31:18.291" v="876" actId="113"/>
          <ac:spMkLst>
            <pc:docMk/>
            <pc:sldMk cId="472957761" sldId="141169020"/>
            <ac:spMk id="2" creationId="{BF409605-97C9-59BF-94FF-C9CD92C3BC66}"/>
          </ac:spMkLst>
        </pc:spChg>
        <pc:spChg chg="mod">
          <ac:chgData name="Mascha Theiler" userId="a0f496a5-efc4-4b52-959d-5e95987cae8c" providerId="ADAL" clId="{46BE184E-840E-48D3-B624-C448522A216F}" dt="2026-02-10T13:32:06.013" v="910" actId="113"/>
          <ac:spMkLst>
            <pc:docMk/>
            <pc:sldMk cId="472957761" sldId="141169020"/>
            <ac:spMk id="3" creationId="{13BAAF3E-C0D8-B163-D7AD-DA776D15553E}"/>
          </ac:spMkLst>
        </pc:spChg>
        <pc:spChg chg="mod">
          <ac:chgData name="Mascha Theiler" userId="a0f496a5-efc4-4b52-959d-5e95987cae8c" providerId="ADAL" clId="{46BE184E-840E-48D3-B624-C448522A216F}" dt="2026-02-10T13:12:56.224" v="855" actId="20577"/>
          <ac:spMkLst>
            <pc:docMk/>
            <pc:sldMk cId="472957761" sldId="141169020"/>
            <ac:spMk id="5" creationId="{9C60215D-2261-0F2C-F0E2-7A7EA75C46A9}"/>
          </ac:spMkLst>
        </pc:spChg>
      </pc:sldChg>
      <pc:sldChg chg="modSp mod">
        <pc:chgData name="Mascha Theiler" userId="a0f496a5-efc4-4b52-959d-5e95987cae8c" providerId="ADAL" clId="{46BE184E-840E-48D3-B624-C448522A216F}" dt="2026-02-10T13:31:27.940" v="894" actId="20577"/>
        <pc:sldMkLst>
          <pc:docMk/>
          <pc:sldMk cId="2042802589" sldId="141169021"/>
        </pc:sldMkLst>
        <pc:spChg chg="mod">
          <ac:chgData name="Mascha Theiler" userId="a0f496a5-efc4-4b52-959d-5e95987cae8c" providerId="ADAL" clId="{46BE184E-840E-48D3-B624-C448522A216F}" dt="2026-02-10T13:12:27.623" v="814"/>
          <ac:spMkLst>
            <pc:docMk/>
            <pc:sldMk cId="2042802589" sldId="141169021"/>
            <ac:spMk id="2" creationId="{BA5561D8-F102-3D80-10FD-A6E7626C51CC}"/>
          </ac:spMkLst>
        </pc:spChg>
        <pc:spChg chg="mod">
          <ac:chgData name="Mascha Theiler" userId="a0f496a5-efc4-4b52-959d-5e95987cae8c" providerId="ADAL" clId="{46BE184E-840E-48D3-B624-C448522A216F}" dt="2026-02-10T13:31:27.940" v="894" actId="20577"/>
          <ac:spMkLst>
            <pc:docMk/>
            <pc:sldMk cId="2042802589" sldId="141169021"/>
            <ac:spMk id="3" creationId="{6B230C2D-58C5-CA90-2FBD-7DC4820B6CDB}"/>
          </ac:spMkLst>
        </pc:spChg>
        <pc:spChg chg="mod">
          <ac:chgData name="Mascha Theiler" userId="a0f496a5-efc4-4b52-959d-5e95987cae8c" providerId="ADAL" clId="{46BE184E-840E-48D3-B624-C448522A216F}" dt="2026-02-10T10:20:18.234" v="803" actId="20577"/>
          <ac:spMkLst>
            <pc:docMk/>
            <pc:sldMk cId="2042802589" sldId="141169021"/>
            <ac:spMk id="5" creationId="{30CA17EC-7BE9-2C3B-CE0E-E6E892C51505}"/>
          </ac:spMkLst>
        </pc:spChg>
      </pc:sldChg>
      <pc:sldChg chg="addSp delSp modSp mod">
        <pc:chgData name="Mascha Theiler" userId="a0f496a5-efc4-4b52-959d-5e95987cae8c" providerId="ADAL" clId="{46BE184E-840E-48D3-B624-C448522A216F}" dt="2026-02-10T09:18:15.367" v="381" actId="1076"/>
        <pc:sldMkLst>
          <pc:docMk/>
          <pc:sldMk cId="2528204274" sldId="141169022"/>
        </pc:sldMkLst>
        <pc:spChg chg="mod">
          <ac:chgData name="Mascha Theiler" userId="a0f496a5-efc4-4b52-959d-5e95987cae8c" providerId="ADAL" clId="{46BE184E-840E-48D3-B624-C448522A216F}" dt="2026-02-10T09:17:19.850" v="377"/>
          <ac:spMkLst>
            <pc:docMk/>
            <pc:sldMk cId="2528204274" sldId="141169022"/>
            <ac:spMk id="2" creationId="{5E3A953B-6A93-D5AC-34E4-BCFB6FEF7CA6}"/>
          </ac:spMkLst>
        </pc:spChg>
        <pc:spChg chg="mod">
          <ac:chgData name="Mascha Theiler" userId="a0f496a5-efc4-4b52-959d-5e95987cae8c" providerId="ADAL" clId="{46BE184E-840E-48D3-B624-C448522A216F}" dt="2026-02-10T09:17:01.481" v="376" actId="20577"/>
          <ac:spMkLst>
            <pc:docMk/>
            <pc:sldMk cId="2528204274" sldId="141169022"/>
            <ac:spMk id="5" creationId="{F0E250FD-73CD-1BD1-5815-C525C4B0DDE7}"/>
          </ac:spMkLst>
        </pc:spChg>
        <pc:picChg chg="del">
          <ac:chgData name="Mascha Theiler" userId="a0f496a5-efc4-4b52-959d-5e95987cae8c" providerId="ADAL" clId="{46BE184E-840E-48D3-B624-C448522A216F}" dt="2026-02-10T09:18:10.014" v="378" actId="478"/>
          <ac:picMkLst>
            <pc:docMk/>
            <pc:sldMk cId="2528204274" sldId="141169022"/>
            <ac:picMk id="3" creationId="{818CD76F-8CFC-588C-529B-84A15766C0C4}"/>
          </ac:picMkLst>
        </pc:picChg>
        <pc:picChg chg="add mod">
          <ac:chgData name="Mascha Theiler" userId="a0f496a5-efc4-4b52-959d-5e95987cae8c" providerId="ADAL" clId="{46BE184E-840E-48D3-B624-C448522A216F}" dt="2026-02-10T09:18:15.367" v="381" actId="1076"/>
          <ac:picMkLst>
            <pc:docMk/>
            <pc:sldMk cId="2528204274" sldId="141169022"/>
            <ac:picMk id="1026" creationId="{8D441436-791B-0B69-FB0B-9222EEBCA51D}"/>
          </ac:picMkLst>
        </pc:picChg>
      </pc:sldChg>
      <pc:sldChg chg="modSp mod">
        <pc:chgData name="Mascha Theiler" userId="a0f496a5-efc4-4b52-959d-5e95987cae8c" providerId="ADAL" clId="{46BE184E-840E-48D3-B624-C448522A216F}" dt="2026-02-11T09:51:40.821" v="2864"/>
        <pc:sldMkLst>
          <pc:docMk/>
          <pc:sldMk cId="1617326005" sldId="141169027"/>
        </pc:sldMkLst>
        <pc:spChg chg="mod">
          <ac:chgData name="Mascha Theiler" userId="a0f496a5-efc4-4b52-959d-5e95987cae8c" providerId="ADAL" clId="{46BE184E-840E-48D3-B624-C448522A216F}" dt="2026-02-11T09:23:59.608" v="2705"/>
          <ac:spMkLst>
            <pc:docMk/>
            <pc:sldMk cId="1617326005" sldId="141169027"/>
            <ac:spMk id="2" creationId="{36A82938-B5ED-9F37-AB75-5480868D4A49}"/>
          </ac:spMkLst>
        </pc:spChg>
        <pc:spChg chg="mod">
          <ac:chgData name="Mascha Theiler" userId="a0f496a5-efc4-4b52-959d-5e95987cae8c" providerId="ADAL" clId="{46BE184E-840E-48D3-B624-C448522A216F}" dt="2026-02-11T09:46:39.797" v="2779" actId="20577"/>
          <ac:spMkLst>
            <pc:docMk/>
            <pc:sldMk cId="1617326005" sldId="141169027"/>
            <ac:spMk id="3" creationId="{280E1401-10B9-22A9-A423-0F2D7BAE20AC}"/>
          </ac:spMkLst>
        </pc:spChg>
        <pc:spChg chg="mod">
          <ac:chgData name="Mascha Theiler" userId="a0f496a5-efc4-4b52-959d-5e95987cae8c" providerId="ADAL" clId="{46BE184E-840E-48D3-B624-C448522A216F}" dt="2026-02-11T09:20:14.224" v="2564" actId="20577"/>
          <ac:spMkLst>
            <pc:docMk/>
            <pc:sldMk cId="1617326005" sldId="141169027"/>
            <ac:spMk id="5" creationId="{ED9641CE-A67B-26E4-CBAA-B7676735BC6F}"/>
          </ac:spMkLst>
        </pc:spChg>
        <pc:graphicFrameChg chg="mod modGraphic">
          <ac:chgData name="Mascha Theiler" userId="a0f496a5-efc4-4b52-959d-5e95987cae8c" providerId="ADAL" clId="{46BE184E-840E-48D3-B624-C448522A216F}" dt="2026-02-11T09:51:40.821" v="2864"/>
          <ac:graphicFrameMkLst>
            <pc:docMk/>
            <pc:sldMk cId="1617326005" sldId="141169027"/>
            <ac:graphicFrameMk id="6" creationId="{3BCF2C71-105B-9129-9CD2-A06CF02557A8}"/>
          </ac:graphicFrameMkLst>
        </pc:graphicFrameChg>
      </pc:sldChg>
      <pc:sldChg chg="modSp mod">
        <pc:chgData name="Mascha Theiler" userId="a0f496a5-efc4-4b52-959d-5e95987cae8c" providerId="ADAL" clId="{46BE184E-840E-48D3-B624-C448522A216F}" dt="2026-02-10T15:25:28.255" v="2242" actId="5793"/>
        <pc:sldMkLst>
          <pc:docMk/>
          <pc:sldMk cId="2159489429" sldId="141169028"/>
        </pc:sldMkLst>
        <pc:spChg chg="mod">
          <ac:chgData name="Mascha Theiler" userId="a0f496a5-efc4-4b52-959d-5e95987cae8c" providerId="ADAL" clId="{46BE184E-840E-48D3-B624-C448522A216F}" dt="2026-02-10T15:24:33.210" v="2221" actId="113"/>
          <ac:spMkLst>
            <pc:docMk/>
            <pc:sldMk cId="2159489429" sldId="141169028"/>
            <ac:spMk id="2" creationId="{1F3527F5-EEE4-9D45-1451-BB4374ED6AC5}"/>
          </ac:spMkLst>
        </pc:spChg>
        <pc:spChg chg="mod">
          <ac:chgData name="Mascha Theiler" userId="a0f496a5-efc4-4b52-959d-5e95987cae8c" providerId="ADAL" clId="{46BE184E-840E-48D3-B624-C448522A216F}" dt="2026-02-10T15:25:28.255" v="2242" actId="5793"/>
          <ac:spMkLst>
            <pc:docMk/>
            <pc:sldMk cId="2159489429" sldId="141169028"/>
            <ac:spMk id="3" creationId="{30CE40F9-A5F1-4FCC-3627-EC34C0C3045B}"/>
          </ac:spMkLst>
        </pc:spChg>
        <pc:spChg chg="mod">
          <ac:chgData name="Mascha Theiler" userId="a0f496a5-efc4-4b52-959d-5e95987cae8c" providerId="ADAL" clId="{46BE184E-840E-48D3-B624-C448522A216F}" dt="2026-02-10T15:24:05.721" v="2219" actId="20577"/>
          <ac:spMkLst>
            <pc:docMk/>
            <pc:sldMk cId="2159489429" sldId="141169028"/>
            <ac:spMk id="5" creationId="{4652B3B1-7F79-F200-8B9F-1D6E65E866FA}"/>
          </ac:spMkLst>
        </pc:spChg>
      </pc:sldChg>
      <pc:sldChg chg="modSp mod">
        <pc:chgData name="Mascha Theiler" userId="a0f496a5-efc4-4b52-959d-5e95987cae8c" providerId="ADAL" clId="{46BE184E-840E-48D3-B624-C448522A216F}" dt="2026-02-10T15:20:03.709" v="1969" actId="20577"/>
        <pc:sldMkLst>
          <pc:docMk/>
          <pc:sldMk cId="434573854" sldId="141169031"/>
        </pc:sldMkLst>
        <pc:spChg chg="mod">
          <ac:chgData name="Mascha Theiler" userId="a0f496a5-efc4-4b52-959d-5e95987cae8c" providerId="ADAL" clId="{46BE184E-840E-48D3-B624-C448522A216F}" dt="2026-02-10T15:19:05.013" v="1872" actId="113"/>
          <ac:spMkLst>
            <pc:docMk/>
            <pc:sldMk cId="434573854" sldId="141169031"/>
            <ac:spMk id="2" creationId="{F5D1DFD3-DF48-605A-2F8E-4888A2261A1E}"/>
          </ac:spMkLst>
        </pc:spChg>
        <pc:spChg chg="mod">
          <ac:chgData name="Mascha Theiler" userId="a0f496a5-efc4-4b52-959d-5e95987cae8c" providerId="ADAL" clId="{46BE184E-840E-48D3-B624-C448522A216F}" dt="2026-02-10T15:20:03.709" v="1969" actId="20577"/>
          <ac:spMkLst>
            <pc:docMk/>
            <pc:sldMk cId="434573854" sldId="141169031"/>
            <ac:spMk id="3" creationId="{51FB6577-1C42-95E3-395C-1276C973CF19}"/>
          </ac:spMkLst>
        </pc:spChg>
        <pc:spChg chg="mod">
          <ac:chgData name="Mascha Theiler" userId="a0f496a5-efc4-4b52-959d-5e95987cae8c" providerId="ADAL" clId="{46BE184E-840E-48D3-B624-C448522A216F}" dt="2026-02-10T15:19:12.452" v="1917" actId="20577"/>
          <ac:spMkLst>
            <pc:docMk/>
            <pc:sldMk cId="434573854" sldId="141169031"/>
            <ac:spMk id="5" creationId="{09B18F7C-D3CE-28A5-CBF5-56A6F88BE5FA}"/>
          </ac:spMkLst>
        </pc:spChg>
      </pc:sldChg>
      <pc:sldChg chg="modSp mod">
        <pc:chgData name="Mascha Theiler" userId="a0f496a5-efc4-4b52-959d-5e95987cae8c" providerId="ADAL" clId="{46BE184E-840E-48D3-B624-C448522A216F}" dt="2026-02-10T15:15:55.421" v="1773" actId="113"/>
        <pc:sldMkLst>
          <pc:docMk/>
          <pc:sldMk cId="4056617501" sldId="141169034"/>
        </pc:sldMkLst>
        <pc:spChg chg="mod">
          <ac:chgData name="Mascha Theiler" userId="a0f496a5-efc4-4b52-959d-5e95987cae8c" providerId="ADAL" clId="{46BE184E-840E-48D3-B624-C448522A216F}" dt="2026-02-10T15:15:45.646" v="1754" actId="113"/>
          <ac:spMkLst>
            <pc:docMk/>
            <pc:sldMk cId="4056617501" sldId="141169034"/>
            <ac:spMk id="2" creationId="{9CABA85F-4996-11A5-F5CF-775DFA0BD7EF}"/>
          </ac:spMkLst>
        </pc:spChg>
        <pc:spChg chg="mod">
          <ac:chgData name="Mascha Theiler" userId="a0f496a5-efc4-4b52-959d-5e95987cae8c" providerId="ADAL" clId="{46BE184E-840E-48D3-B624-C448522A216F}" dt="2026-02-10T15:15:55.421" v="1773" actId="113"/>
          <ac:spMkLst>
            <pc:docMk/>
            <pc:sldMk cId="4056617501" sldId="141169034"/>
            <ac:spMk id="3" creationId="{A77EF6B5-7823-9DFD-C597-9FAF6B362E50}"/>
          </ac:spMkLst>
        </pc:spChg>
        <pc:spChg chg="mod">
          <ac:chgData name="Mascha Theiler" userId="a0f496a5-efc4-4b52-959d-5e95987cae8c" providerId="ADAL" clId="{46BE184E-840E-48D3-B624-C448522A216F}" dt="2026-02-10T15:13:21.323" v="1636" actId="20577"/>
          <ac:spMkLst>
            <pc:docMk/>
            <pc:sldMk cId="4056617501" sldId="141169034"/>
            <ac:spMk id="5" creationId="{26A1DA48-9281-96C5-0225-8DB1166AB530}"/>
          </ac:spMkLst>
        </pc:spChg>
      </pc:sldChg>
      <pc:sldChg chg="modSp mod">
        <pc:chgData name="Mascha Theiler" userId="a0f496a5-efc4-4b52-959d-5e95987cae8c" providerId="ADAL" clId="{46BE184E-840E-48D3-B624-C448522A216F}" dt="2026-02-10T14:59:13.598" v="1311" actId="20577"/>
        <pc:sldMkLst>
          <pc:docMk/>
          <pc:sldMk cId="425407003" sldId="141169037"/>
        </pc:sldMkLst>
        <pc:spChg chg="mod">
          <ac:chgData name="Mascha Theiler" userId="a0f496a5-efc4-4b52-959d-5e95987cae8c" providerId="ADAL" clId="{46BE184E-840E-48D3-B624-C448522A216F}" dt="2026-02-10T14:59:06.377" v="1275" actId="20577"/>
          <ac:spMkLst>
            <pc:docMk/>
            <pc:sldMk cId="425407003" sldId="141169037"/>
            <ac:spMk id="2" creationId="{5C5DC48B-B668-ECEA-BF2B-5D34F449995A}"/>
          </ac:spMkLst>
        </pc:spChg>
        <pc:spChg chg="mod">
          <ac:chgData name="Mascha Theiler" userId="a0f496a5-efc4-4b52-959d-5e95987cae8c" providerId="ADAL" clId="{46BE184E-840E-48D3-B624-C448522A216F}" dt="2026-02-10T14:59:13.598" v="1311" actId="20577"/>
          <ac:spMkLst>
            <pc:docMk/>
            <pc:sldMk cId="425407003" sldId="141169037"/>
            <ac:spMk id="3" creationId="{DAF85952-DB8C-B122-58FE-2911E0F5563B}"/>
          </ac:spMkLst>
        </pc:spChg>
        <pc:spChg chg="mod">
          <ac:chgData name="Mascha Theiler" userId="a0f496a5-efc4-4b52-959d-5e95987cae8c" providerId="ADAL" clId="{46BE184E-840E-48D3-B624-C448522A216F}" dt="2026-02-10T14:57:24.306" v="1230" actId="20577"/>
          <ac:spMkLst>
            <pc:docMk/>
            <pc:sldMk cId="425407003" sldId="141169037"/>
            <ac:spMk id="5" creationId="{C3615D37-7D02-78B2-29A0-98B268A1B0F2}"/>
          </ac:spMkLst>
        </pc:spChg>
      </pc:sldChg>
      <pc:sldChg chg="modSp mod">
        <pc:chgData name="Mascha Theiler" userId="a0f496a5-efc4-4b52-959d-5e95987cae8c" providerId="ADAL" clId="{46BE184E-840E-48D3-B624-C448522A216F}" dt="2026-02-10T09:24:57.251" v="537"/>
        <pc:sldMkLst>
          <pc:docMk/>
          <pc:sldMk cId="976388787" sldId="141169046"/>
        </pc:sldMkLst>
        <pc:spChg chg="mod">
          <ac:chgData name="Mascha Theiler" userId="a0f496a5-efc4-4b52-959d-5e95987cae8c" providerId="ADAL" clId="{46BE184E-840E-48D3-B624-C448522A216F}" dt="2026-02-10T09:24:57.251" v="537"/>
          <ac:spMkLst>
            <pc:docMk/>
            <pc:sldMk cId="976388787" sldId="141169046"/>
            <ac:spMk id="2" creationId="{824892C4-0F31-631E-845C-503CF77EDB13}"/>
          </ac:spMkLst>
        </pc:spChg>
        <pc:spChg chg="mod">
          <ac:chgData name="Mascha Theiler" userId="a0f496a5-efc4-4b52-959d-5e95987cae8c" providerId="ADAL" clId="{46BE184E-840E-48D3-B624-C448522A216F}" dt="2026-02-10T09:23:56.851" v="535" actId="20577"/>
          <ac:spMkLst>
            <pc:docMk/>
            <pc:sldMk cId="976388787" sldId="141169046"/>
            <ac:spMk id="3" creationId="{83C876E6-817B-F73D-E502-F8DB7B70A97F}"/>
          </ac:spMkLst>
        </pc:spChg>
        <pc:spChg chg="mod">
          <ac:chgData name="Mascha Theiler" userId="a0f496a5-efc4-4b52-959d-5e95987cae8c" providerId="ADAL" clId="{46BE184E-840E-48D3-B624-C448522A216F}" dt="2026-02-10T09:21:57.054" v="526" actId="20577"/>
          <ac:spMkLst>
            <pc:docMk/>
            <pc:sldMk cId="976388787" sldId="141169046"/>
            <ac:spMk id="5" creationId="{F67ED730-6193-5244-0CEA-FADF857B47DB}"/>
          </ac:spMkLst>
        </pc:spChg>
      </pc:sldChg>
      <pc:sldChg chg="modSp mod">
        <pc:chgData name="Mascha Theiler" userId="a0f496a5-efc4-4b52-959d-5e95987cae8c" providerId="ADAL" clId="{46BE184E-840E-48D3-B624-C448522A216F}" dt="2026-02-10T10:16:23.155" v="654" actId="11"/>
        <pc:sldMkLst>
          <pc:docMk/>
          <pc:sldMk cId="3460890795" sldId="141169047"/>
        </pc:sldMkLst>
        <pc:spChg chg="mod">
          <ac:chgData name="Mascha Theiler" userId="a0f496a5-efc4-4b52-959d-5e95987cae8c" providerId="ADAL" clId="{46BE184E-840E-48D3-B624-C448522A216F}" dt="2026-02-10T10:12:44.423" v="587"/>
          <ac:spMkLst>
            <pc:docMk/>
            <pc:sldMk cId="3460890795" sldId="141169047"/>
            <ac:spMk id="2" creationId="{F21C835C-77CE-4365-D4BF-239624111E63}"/>
          </ac:spMkLst>
        </pc:spChg>
        <pc:spChg chg="mod">
          <ac:chgData name="Mascha Theiler" userId="a0f496a5-efc4-4b52-959d-5e95987cae8c" providerId="ADAL" clId="{46BE184E-840E-48D3-B624-C448522A216F}" dt="2026-02-10T10:16:23.155" v="654" actId="11"/>
          <ac:spMkLst>
            <pc:docMk/>
            <pc:sldMk cId="3460890795" sldId="141169047"/>
            <ac:spMk id="3" creationId="{004B39AF-D022-02CD-F286-CC7967BA511F}"/>
          </ac:spMkLst>
        </pc:spChg>
        <pc:spChg chg="mod">
          <ac:chgData name="Mascha Theiler" userId="a0f496a5-efc4-4b52-959d-5e95987cae8c" providerId="ADAL" clId="{46BE184E-840E-48D3-B624-C448522A216F}" dt="2026-02-10T09:25:08.454" v="578" actId="20577"/>
          <ac:spMkLst>
            <pc:docMk/>
            <pc:sldMk cId="3460890795" sldId="141169047"/>
            <ac:spMk id="5" creationId="{0744AECE-EF48-E2AA-1603-F7DDDE3B60C6}"/>
          </ac:spMkLst>
        </pc:spChg>
      </pc:sldChg>
      <pc:sldChg chg="modSp mod">
        <pc:chgData name="Mascha Theiler" userId="a0f496a5-efc4-4b52-959d-5e95987cae8c" providerId="ADAL" clId="{46BE184E-840E-48D3-B624-C448522A216F}" dt="2026-02-10T10:16:41.816" v="655" actId="11"/>
        <pc:sldMkLst>
          <pc:docMk/>
          <pc:sldMk cId="2728995984" sldId="141169048"/>
        </pc:sldMkLst>
        <pc:spChg chg="mod">
          <ac:chgData name="Mascha Theiler" userId="a0f496a5-efc4-4b52-959d-5e95987cae8c" providerId="ADAL" clId="{46BE184E-840E-48D3-B624-C448522A216F}" dt="2026-02-10T10:13:20.184" v="629"/>
          <ac:spMkLst>
            <pc:docMk/>
            <pc:sldMk cId="2728995984" sldId="141169048"/>
            <ac:spMk id="2" creationId="{18FB65B8-575A-BB2D-FF71-B59BEF2F5CC6}"/>
          </ac:spMkLst>
        </pc:spChg>
        <pc:spChg chg="mod">
          <ac:chgData name="Mascha Theiler" userId="a0f496a5-efc4-4b52-959d-5e95987cae8c" providerId="ADAL" clId="{46BE184E-840E-48D3-B624-C448522A216F}" dt="2026-02-10T10:16:41.816" v="655" actId="11"/>
          <ac:spMkLst>
            <pc:docMk/>
            <pc:sldMk cId="2728995984" sldId="141169048"/>
            <ac:spMk id="3" creationId="{405ECC24-97B5-B894-392A-011F198802C4}"/>
          </ac:spMkLst>
        </pc:spChg>
        <pc:spChg chg="mod">
          <ac:chgData name="Mascha Theiler" userId="a0f496a5-efc4-4b52-959d-5e95987cae8c" providerId="ADAL" clId="{46BE184E-840E-48D3-B624-C448522A216F}" dt="2026-02-10T10:13:04.040" v="628" actId="20577"/>
          <ac:spMkLst>
            <pc:docMk/>
            <pc:sldMk cId="2728995984" sldId="141169048"/>
            <ac:spMk id="5" creationId="{F8766967-A856-BE13-04D9-28DCE2A4AF27}"/>
          </ac:spMkLst>
        </pc:spChg>
      </pc:sldChg>
      <pc:sldChg chg="modSp mod">
        <pc:chgData name="Mascha Theiler" userId="a0f496a5-efc4-4b52-959d-5e95987cae8c" providerId="ADAL" clId="{46BE184E-840E-48D3-B624-C448522A216F}" dt="2026-02-10T10:19:21.582" v="760" actId="20577"/>
        <pc:sldMkLst>
          <pc:docMk/>
          <pc:sldMk cId="1837916501" sldId="141169049"/>
        </pc:sldMkLst>
        <pc:spChg chg="mod">
          <ac:chgData name="Mascha Theiler" userId="a0f496a5-efc4-4b52-959d-5e95987cae8c" providerId="ADAL" clId="{46BE184E-840E-48D3-B624-C448522A216F}" dt="2026-02-10T10:16:59.934" v="656"/>
          <ac:spMkLst>
            <pc:docMk/>
            <pc:sldMk cId="1837916501" sldId="141169049"/>
            <ac:spMk id="2" creationId="{FC29AC44-EA5A-CD04-C656-E80E83DC8005}"/>
          </ac:spMkLst>
        </pc:spChg>
        <pc:spChg chg="mod">
          <ac:chgData name="Mascha Theiler" userId="a0f496a5-efc4-4b52-959d-5e95987cae8c" providerId="ADAL" clId="{46BE184E-840E-48D3-B624-C448522A216F}" dt="2026-02-10T10:19:21.582" v="760" actId="20577"/>
          <ac:spMkLst>
            <pc:docMk/>
            <pc:sldMk cId="1837916501" sldId="141169049"/>
            <ac:spMk id="3" creationId="{D0F19884-1A9D-215F-295E-883C7ED87E38}"/>
          </ac:spMkLst>
        </pc:spChg>
        <pc:spChg chg="mod">
          <ac:chgData name="Mascha Theiler" userId="a0f496a5-efc4-4b52-959d-5e95987cae8c" providerId="ADAL" clId="{46BE184E-840E-48D3-B624-C448522A216F}" dt="2026-02-10T10:17:31.284" v="751" actId="20577"/>
          <ac:spMkLst>
            <pc:docMk/>
            <pc:sldMk cId="1837916501" sldId="141169049"/>
            <ac:spMk id="5" creationId="{C27DB120-E349-5CA9-911F-1BCD3831D139}"/>
          </ac:spMkLst>
        </pc:spChg>
      </pc:sldChg>
      <pc:sldChg chg="modSp mod">
        <pc:chgData name="Mascha Theiler" userId="a0f496a5-efc4-4b52-959d-5e95987cae8c" providerId="ADAL" clId="{46BE184E-840E-48D3-B624-C448522A216F}" dt="2026-02-10T10:20:03.051" v="762" actId="113"/>
        <pc:sldMkLst>
          <pc:docMk/>
          <pc:sldMk cId="4277639781" sldId="141169050"/>
        </pc:sldMkLst>
        <pc:spChg chg="mod">
          <ac:chgData name="Mascha Theiler" userId="a0f496a5-efc4-4b52-959d-5e95987cae8c" providerId="ADAL" clId="{46BE184E-840E-48D3-B624-C448522A216F}" dt="2026-02-10T10:17:09.059" v="659"/>
          <ac:spMkLst>
            <pc:docMk/>
            <pc:sldMk cId="4277639781" sldId="141169050"/>
            <ac:spMk id="2" creationId="{C4DF8C4B-BC20-5363-5834-F26C910C700F}"/>
          </ac:spMkLst>
        </pc:spChg>
        <pc:spChg chg="mod">
          <ac:chgData name="Mascha Theiler" userId="a0f496a5-efc4-4b52-959d-5e95987cae8c" providerId="ADAL" clId="{46BE184E-840E-48D3-B624-C448522A216F}" dt="2026-02-10T10:20:03.051" v="762" actId="113"/>
          <ac:spMkLst>
            <pc:docMk/>
            <pc:sldMk cId="4277639781" sldId="141169050"/>
            <ac:spMk id="3" creationId="{A5DD6D17-7C31-4535-492B-916725F8E064}"/>
          </ac:spMkLst>
        </pc:spChg>
        <pc:spChg chg="mod">
          <ac:chgData name="Mascha Theiler" userId="a0f496a5-efc4-4b52-959d-5e95987cae8c" providerId="ADAL" clId="{46BE184E-840E-48D3-B624-C448522A216F}" dt="2026-02-10T10:17:19.224" v="704" actId="20577"/>
          <ac:spMkLst>
            <pc:docMk/>
            <pc:sldMk cId="4277639781" sldId="141169050"/>
            <ac:spMk id="5" creationId="{A3C0BB3A-6738-46C9-24C1-3A8619F3ED46}"/>
          </ac:spMkLst>
        </pc:spChg>
      </pc:sldChg>
      <pc:sldChg chg="addSp modSp mod">
        <pc:chgData name="Mascha Theiler" userId="a0f496a5-efc4-4b52-959d-5e95987cae8c" providerId="ADAL" clId="{46BE184E-840E-48D3-B624-C448522A216F}" dt="2026-02-10T14:57:09.470" v="1189" actId="20577"/>
        <pc:sldMkLst>
          <pc:docMk/>
          <pc:sldMk cId="4285381523" sldId="141169051"/>
        </pc:sldMkLst>
        <pc:spChg chg="mod">
          <ac:chgData name="Mascha Theiler" userId="a0f496a5-efc4-4b52-959d-5e95987cae8c" providerId="ADAL" clId="{46BE184E-840E-48D3-B624-C448522A216F}" dt="2026-02-10T13:33:56.124" v="1101"/>
          <ac:spMkLst>
            <pc:docMk/>
            <pc:sldMk cId="4285381523" sldId="141169051"/>
            <ac:spMk id="2" creationId="{36E1A202-E23F-6BA2-4BF8-021CF8DAC51D}"/>
          </ac:spMkLst>
        </pc:spChg>
        <pc:spChg chg="mod">
          <ac:chgData name="Mascha Theiler" userId="a0f496a5-efc4-4b52-959d-5e95987cae8c" providerId="ADAL" clId="{46BE184E-840E-48D3-B624-C448522A216F}" dt="2026-02-10T14:57:09.470" v="1189" actId="20577"/>
          <ac:spMkLst>
            <pc:docMk/>
            <pc:sldMk cId="4285381523" sldId="141169051"/>
            <ac:spMk id="3" creationId="{A9CE391A-1D50-157E-D0B9-B755A5941CD3}"/>
          </ac:spMkLst>
        </pc:spChg>
        <pc:spChg chg="mod">
          <ac:chgData name="Mascha Theiler" userId="a0f496a5-efc4-4b52-959d-5e95987cae8c" providerId="ADAL" clId="{46BE184E-840E-48D3-B624-C448522A216F}" dt="2026-02-10T13:34:05.018" v="1142" actId="20577"/>
          <ac:spMkLst>
            <pc:docMk/>
            <pc:sldMk cId="4285381523" sldId="141169051"/>
            <ac:spMk id="5" creationId="{A18AD0CF-5BA9-53E5-DA0C-773403CD2BA0}"/>
          </ac:spMkLst>
        </pc:spChg>
        <pc:spChg chg="add">
          <ac:chgData name="Mascha Theiler" userId="a0f496a5-efc4-4b52-959d-5e95987cae8c" providerId="ADAL" clId="{46BE184E-840E-48D3-B624-C448522A216F}" dt="2026-02-10T14:56:24.086" v="1163"/>
          <ac:spMkLst>
            <pc:docMk/>
            <pc:sldMk cId="4285381523" sldId="141169051"/>
            <ac:spMk id="6" creationId="{7FC693A6-7AD1-EB55-84CB-FF7BBD2C3109}"/>
          </ac:spMkLst>
        </pc:spChg>
      </pc:sldChg>
      <pc:sldChg chg="addSp modSp mod">
        <pc:chgData name="Mascha Theiler" userId="a0f496a5-efc4-4b52-959d-5e95987cae8c" providerId="ADAL" clId="{46BE184E-840E-48D3-B624-C448522A216F}" dt="2026-02-10T14:56:51.626" v="1176" actId="20577"/>
        <pc:sldMkLst>
          <pc:docMk/>
          <pc:sldMk cId="2858993974" sldId="141169052"/>
        </pc:sldMkLst>
        <pc:spChg chg="mod">
          <ac:chgData name="Mascha Theiler" userId="a0f496a5-efc4-4b52-959d-5e95987cae8c" providerId="ADAL" clId="{46BE184E-840E-48D3-B624-C448522A216F}" dt="2026-02-10T13:33:47.552" v="1100" actId="20577"/>
          <ac:spMkLst>
            <pc:docMk/>
            <pc:sldMk cId="2858993974" sldId="141169052"/>
            <ac:spMk id="2" creationId="{89041CBC-1E11-F4AE-D932-4FEA14B2D6F3}"/>
          </ac:spMkLst>
        </pc:spChg>
        <pc:spChg chg="mod">
          <ac:chgData name="Mascha Theiler" userId="a0f496a5-efc4-4b52-959d-5e95987cae8c" providerId="ADAL" clId="{46BE184E-840E-48D3-B624-C448522A216F}" dt="2026-02-10T14:56:51.626" v="1176" actId="20577"/>
          <ac:spMkLst>
            <pc:docMk/>
            <pc:sldMk cId="2858993974" sldId="141169052"/>
            <ac:spMk id="3" creationId="{56C8B0EB-B6C6-C4AB-3F68-22F657547C12}"/>
          </ac:spMkLst>
        </pc:spChg>
        <pc:spChg chg="mod">
          <ac:chgData name="Mascha Theiler" userId="a0f496a5-efc4-4b52-959d-5e95987cae8c" providerId="ADAL" clId="{46BE184E-840E-48D3-B624-C448522A216F}" dt="2026-02-10T13:33:27.523" v="1034" actId="20577"/>
          <ac:spMkLst>
            <pc:docMk/>
            <pc:sldMk cId="2858993974" sldId="141169052"/>
            <ac:spMk id="5" creationId="{22F67EB8-9C73-FADB-FF57-1A68C7F950C8}"/>
          </ac:spMkLst>
        </pc:spChg>
        <pc:spChg chg="add">
          <ac:chgData name="Mascha Theiler" userId="a0f496a5-efc4-4b52-959d-5e95987cae8c" providerId="ADAL" clId="{46BE184E-840E-48D3-B624-C448522A216F}" dt="2026-02-10T13:34:43.331" v="1143"/>
          <ac:spMkLst>
            <pc:docMk/>
            <pc:sldMk cId="2858993974" sldId="141169052"/>
            <ac:spMk id="6" creationId="{37FB7A4E-E86F-335A-DCB6-A091B56B6D02}"/>
          </ac:spMkLst>
        </pc:spChg>
        <pc:spChg chg="add">
          <ac:chgData name="Mascha Theiler" userId="a0f496a5-efc4-4b52-959d-5e95987cae8c" providerId="ADAL" clId="{46BE184E-840E-48D3-B624-C448522A216F}" dt="2026-02-10T13:34:49.322" v="1144"/>
          <ac:spMkLst>
            <pc:docMk/>
            <pc:sldMk cId="2858993974" sldId="141169052"/>
            <ac:spMk id="8" creationId="{9F8D9079-506F-F9AF-C454-3BA14A524351}"/>
          </ac:spMkLst>
        </pc:spChg>
        <pc:spChg chg="add">
          <ac:chgData name="Mascha Theiler" userId="a0f496a5-efc4-4b52-959d-5e95987cae8c" providerId="ADAL" clId="{46BE184E-840E-48D3-B624-C448522A216F}" dt="2026-02-10T13:43:43.527" v="1145"/>
          <ac:spMkLst>
            <pc:docMk/>
            <pc:sldMk cId="2858993974" sldId="141169052"/>
            <ac:spMk id="9" creationId="{4C5CCDBE-78FA-2D49-AE5B-DFB7BC7DB290}"/>
          </ac:spMkLst>
        </pc:spChg>
      </pc:sldChg>
      <pc:sldChg chg="modSp mod">
        <pc:chgData name="Mascha Theiler" userId="a0f496a5-efc4-4b52-959d-5e95987cae8c" providerId="ADAL" clId="{46BE184E-840E-48D3-B624-C448522A216F}" dt="2026-02-10T15:11:52.554" v="1591" actId="11"/>
        <pc:sldMkLst>
          <pc:docMk/>
          <pc:sldMk cId="1998081401" sldId="141169053"/>
        </pc:sldMkLst>
        <pc:spChg chg="mod">
          <ac:chgData name="Mascha Theiler" userId="a0f496a5-efc4-4b52-959d-5e95987cae8c" providerId="ADAL" clId="{46BE184E-840E-48D3-B624-C448522A216F}" dt="2026-02-10T15:10:30.553" v="1478" actId="20577"/>
          <ac:spMkLst>
            <pc:docMk/>
            <pc:sldMk cId="1998081401" sldId="141169053"/>
            <ac:spMk id="2" creationId="{36DA33CE-8EEA-7B50-FCC1-9AE04F0C2F5C}"/>
          </ac:spMkLst>
        </pc:spChg>
        <pc:spChg chg="mod">
          <ac:chgData name="Mascha Theiler" userId="a0f496a5-efc4-4b52-959d-5e95987cae8c" providerId="ADAL" clId="{46BE184E-840E-48D3-B624-C448522A216F}" dt="2026-02-10T15:11:52.554" v="1591" actId="11"/>
          <ac:spMkLst>
            <pc:docMk/>
            <pc:sldMk cId="1998081401" sldId="141169053"/>
            <ac:spMk id="3" creationId="{049B5487-F3EB-E3F1-3F12-22BA107C033A}"/>
          </ac:spMkLst>
        </pc:spChg>
        <pc:spChg chg="mod">
          <ac:chgData name="Mascha Theiler" userId="a0f496a5-efc4-4b52-959d-5e95987cae8c" providerId="ADAL" clId="{46BE184E-840E-48D3-B624-C448522A216F}" dt="2026-02-10T15:10:59.800" v="1573" actId="20577"/>
          <ac:spMkLst>
            <pc:docMk/>
            <pc:sldMk cId="1998081401" sldId="141169053"/>
            <ac:spMk id="5" creationId="{D462ECEF-68FB-5D10-6CD8-2F45CDF98886}"/>
          </ac:spMkLst>
        </pc:spChg>
      </pc:sldChg>
      <pc:sldChg chg="modSp mod">
        <pc:chgData name="Mascha Theiler" userId="a0f496a5-efc4-4b52-959d-5e95987cae8c" providerId="ADAL" clId="{46BE184E-840E-48D3-B624-C448522A216F}" dt="2026-02-10T15:12:41.663" v="1593" actId="11"/>
        <pc:sldMkLst>
          <pc:docMk/>
          <pc:sldMk cId="3940618314" sldId="141169054"/>
        </pc:sldMkLst>
        <pc:spChg chg="mod">
          <ac:chgData name="Mascha Theiler" userId="a0f496a5-efc4-4b52-959d-5e95987cae8c" providerId="ADAL" clId="{46BE184E-840E-48D3-B624-C448522A216F}" dt="2026-02-10T15:10:38.005" v="1479"/>
          <ac:spMkLst>
            <pc:docMk/>
            <pc:sldMk cId="3940618314" sldId="141169054"/>
            <ac:spMk id="2" creationId="{9962309C-1B8B-AA4E-1DF6-B42086EE9FFE}"/>
          </ac:spMkLst>
        </pc:spChg>
        <pc:spChg chg="mod">
          <ac:chgData name="Mascha Theiler" userId="a0f496a5-efc4-4b52-959d-5e95987cae8c" providerId="ADAL" clId="{46BE184E-840E-48D3-B624-C448522A216F}" dt="2026-02-10T15:12:41.663" v="1593" actId="11"/>
          <ac:spMkLst>
            <pc:docMk/>
            <pc:sldMk cId="3940618314" sldId="141169054"/>
            <ac:spMk id="3" creationId="{175A34D2-CA18-463F-3BD3-2F3FD1A0D8FE}"/>
          </ac:spMkLst>
        </pc:spChg>
        <pc:spChg chg="mod">
          <ac:chgData name="Mascha Theiler" userId="a0f496a5-efc4-4b52-959d-5e95987cae8c" providerId="ADAL" clId="{46BE184E-840E-48D3-B624-C448522A216F}" dt="2026-02-10T15:10:48.079" v="1524" actId="20577"/>
          <ac:spMkLst>
            <pc:docMk/>
            <pc:sldMk cId="3940618314" sldId="141169054"/>
            <ac:spMk id="5" creationId="{03284092-21F6-6CF5-6F26-A55FCEE2638F}"/>
          </ac:spMkLst>
        </pc:spChg>
      </pc:sldChg>
      <pc:sldChg chg="addSp modSp mod">
        <pc:chgData name="Mascha Theiler" userId="a0f496a5-efc4-4b52-959d-5e95987cae8c" providerId="ADAL" clId="{46BE184E-840E-48D3-B624-C448522A216F}" dt="2026-02-10T15:17:06.692" v="1822" actId="20577"/>
        <pc:sldMkLst>
          <pc:docMk/>
          <pc:sldMk cId="318622972" sldId="141169055"/>
        </pc:sldMkLst>
        <pc:spChg chg="mod">
          <ac:chgData name="Mascha Theiler" userId="a0f496a5-efc4-4b52-959d-5e95987cae8c" providerId="ADAL" clId="{46BE184E-840E-48D3-B624-C448522A216F}" dt="2026-02-10T15:14:30.058" v="1745" actId="20577"/>
          <ac:spMkLst>
            <pc:docMk/>
            <pc:sldMk cId="318622972" sldId="141169055"/>
            <ac:spMk id="2" creationId="{951BDE91-AAD0-F0F8-096A-F596AE27970D}"/>
          </ac:spMkLst>
        </pc:spChg>
        <pc:spChg chg="mod">
          <ac:chgData name="Mascha Theiler" userId="a0f496a5-efc4-4b52-959d-5e95987cae8c" providerId="ADAL" clId="{46BE184E-840E-48D3-B624-C448522A216F}" dt="2026-02-10T15:17:06.692" v="1822" actId="20577"/>
          <ac:spMkLst>
            <pc:docMk/>
            <pc:sldMk cId="318622972" sldId="141169055"/>
            <ac:spMk id="3" creationId="{66DBD915-C139-6A72-D23B-7DBB31E2F9D5}"/>
          </ac:spMkLst>
        </pc:spChg>
        <pc:spChg chg="mod">
          <ac:chgData name="Mascha Theiler" userId="a0f496a5-efc4-4b52-959d-5e95987cae8c" providerId="ADAL" clId="{46BE184E-840E-48D3-B624-C448522A216F}" dt="2026-02-10T15:16:39.410" v="1814" actId="20577"/>
          <ac:spMkLst>
            <pc:docMk/>
            <pc:sldMk cId="318622972" sldId="141169055"/>
            <ac:spMk id="5" creationId="{41FDD5CB-BD45-5307-E37F-D504FE3BD60E}"/>
          </ac:spMkLst>
        </pc:spChg>
        <pc:spChg chg="add">
          <ac:chgData name="Mascha Theiler" userId="a0f496a5-efc4-4b52-959d-5e95987cae8c" providerId="ADAL" clId="{46BE184E-840E-48D3-B624-C448522A216F}" dt="2026-02-10T15:16:48.976" v="1816"/>
          <ac:spMkLst>
            <pc:docMk/>
            <pc:sldMk cId="318622972" sldId="141169055"/>
            <ac:spMk id="6" creationId="{2FA8EEE5-663E-9616-E857-132C5A6AFEB7}"/>
          </ac:spMkLst>
        </pc:spChg>
      </pc:sldChg>
      <pc:sldChg chg="addSp modSp mod">
        <pc:chgData name="Mascha Theiler" userId="a0f496a5-efc4-4b52-959d-5e95987cae8c" providerId="ADAL" clId="{46BE184E-840E-48D3-B624-C448522A216F}" dt="2026-02-10T15:18:31.128" v="1870" actId="20577"/>
        <pc:sldMkLst>
          <pc:docMk/>
          <pc:sldMk cId="4159221025" sldId="141169056"/>
        </pc:sldMkLst>
        <pc:spChg chg="mod">
          <ac:chgData name="Mascha Theiler" userId="a0f496a5-efc4-4b52-959d-5e95987cae8c" providerId="ADAL" clId="{46BE184E-840E-48D3-B624-C448522A216F}" dt="2026-02-10T15:14:38.781" v="1746"/>
          <ac:spMkLst>
            <pc:docMk/>
            <pc:sldMk cId="4159221025" sldId="141169056"/>
            <ac:spMk id="2" creationId="{C66CE24A-2716-9D72-2CD7-3B96F2E329F7}"/>
          </ac:spMkLst>
        </pc:spChg>
        <pc:spChg chg="mod">
          <ac:chgData name="Mascha Theiler" userId="a0f496a5-efc4-4b52-959d-5e95987cae8c" providerId="ADAL" clId="{46BE184E-840E-48D3-B624-C448522A216F}" dt="2026-02-10T15:18:31.128" v="1870" actId="20577"/>
          <ac:spMkLst>
            <pc:docMk/>
            <pc:sldMk cId="4159221025" sldId="141169056"/>
            <ac:spMk id="3" creationId="{A88FEC8D-8D3F-33D4-F381-0E0AF288F9D5}"/>
          </ac:spMkLst>
        </pc:spChg>
        <pc:spChg chg="mod">
          <ac:chgData name="Mascha Theiler" userId="a0f496a5-efc4-4b52-959d-5e95987cae8c" providerId="ADAL" clId="{46BE184E-840E-48D3-B624-C448522A216F}" dt="2026-02-10T15:17:37.909" v="1863" actId="20577"/>
          <ac:spMkLst>
            <pc:docMk/>
            <pc:sldMk cId="4159221025" sldId="141169056"/>
            <ac:spMk id="5" creationId="{C5CDA4E5-6695-BEBB-8241-731B43D55372}"/>
          </ac:spMkLst>
        </pc:spChg>
        <pc:spChg chg="add">
          <ac:chgData name="Mascha Theiler" userId="a0f496a5-efc4-4b52-959d-5e95987cae8c" providerId="ADAL" clId="{46BE184E-840E-48D3-B624-C448522A216F}" dt="2026-02-10T15:18:08.973" v="1865"/>
          <ac:spMkLst>
            <pc:docMk/>
            <pc:sldMk cId="4159221025" sldId="141169056"/>
            <ac:spMk id="6" creationId="{1B43ADE0-ED7C-AE01-F133-C396B07591C5}"/>
          </ac:spMkLst>
        </pc:spChg>
      </pc:sldChg>
      <pc:sldChg chg="modSp mod">
        <pc:chgData name="Mascha Theiler" userId="a0f496a5-efc4-4b52-959d-5e95987cae8c" providerId="ADAL" clId="{46BE184E-840E-48D3-B624-C448522A216F}" dt="2026-02-10T15:22:52.745" v="2172" actId="20577"/>
        <pc:sldMkLst>
          <pc:docMk/>
          <pc:sldMk cId="888338054" sldId="141169057"/>
        </pc:sldMkLst>
        <pc:spChg chg="mod">
          <ac:chgData name="Mascha Theiler" userId="a0f496a5-efc4-4b52-959d-5e95987cae8c" providerId="ADAL" clId="{46BE184E-840E-48D3-B624-C448522A216F}" dt="2026-02-10T15:20:47.312" v="2072" actId="20577"/>
          <ac:spMkLst>
            <pc:docMk/>
            <pc:sldMk cId="888338054" sldId="141169057"/>
            <ac:spMk id="2" creationId="{6C686BDA-EBA5-9652-135E-4A387A67A749}"/>
          </ac:spMkLst>
        </pc:spChg>
        <pc:spChg chg="mod">
          <ac:chgData name="Mascha Theiler" userId="a0f496a5-efc4-4b52-959d-5e95987cae8c" providerId="ADAL" clId="{46BE184E-840E-48D3-B624-C448522A216F}" dt="2026-02-10T15:22:52.745" v="2172" actId="20577"/>
          <ac:spMkLst>
            <pc:docMk/>
            <pc:sldMk cId="888338054" sldId="141169057"/>
            <ac:spMk id="3" creationId="{2C87AEF5-DC22-924C-3D1D-C899DBE0C648}"/>
          </ac:spMkLst>
        </pc:spChg>
        <pc:spChg chg="mod">
          <ac:chgData name="Mascha Theiler" userId="a0f496a5-efc4-4b52-959d-5e95987cae8c" providerId="ADAL" clId="{46BE184E-840E-48D3-B624-C448522A216F}" dt="2026-02-10T15:22:17.023" v="2167" actId="20577"/>
          <ac:spMkLst>
            <pc:docMk/>
            <pc:sldMk cId="888338054" sldId="141169057"/>
            <ac:spMk id="5" creationId="{CA9C745D-6B87-36A1-BE8C-B32EE17803D9}"/>
          </ac:spMkLst>
        </pc:spChg>
      </pc:sldChg>
      <pc:sldChg chg="modSp mod">
        <pc:chgData name="Mascha Theiler" userId="a0f496a5-efc4-4b52-959d-5e95987cae8c" providerId="ADAL" clId="{46BE184E-840E-48D3-B624-C448522A216F}" dt="2026-02-10T15:23:42.345" v="2176" actId="20577"/>
        <pc:sldMkLst>
          <pc:docMk/>
          <pc:sldMk cId="326443727" sldId="141169058"/>
        </pc:sldMkLst>
        <pc:spChg chg="mod">
          <ac:chgData name="Mascha Theiler" userId="a0f496a5-efc4-4b52-959d-5e95987cae8c" providerId="ADAL" clId="{46BE184E-840E-48D3-B624-C448522A216F}" dt="2026-02-10T15:20:55.904" v="2073"/>
          <ac:spMkLst>
            <pc:docMk/>
            <pc:sldMk cId="326443727" sldId="141169058"/>
            <ac:spMk id="2" creationId="{D679F37D-4762-6C85-1ADA-4208EDD35DC6}"/>
          </ac:spMkLst>
        </pc:spChg>
        <pc:spChg chg="mod">
          <ac:chgData name="Mascha Theiler" userId="a0f496a5-efc4-4b52-959d-5e95987cae8c" providerId="ADAL" clId="{46BE184E-840E-48D3-B624-C448522A216F}" dt="2026-02-10T15:23:42.345" v="2176" actId="20577"/>
          <ac:spMkLst>
            <pc:docMk/>
            <pc:sldMk cId="326443727" sldId="141169058"/>
            <ac:spMk id="3" creationId="{6C917B02-B29B-D334-22E8-3564D51966E4}"/>
          </ac:spMkLst>
        </pc:spChg>
        <pc:spChg chg="mod">
          <ac:chgData name="Mascha Theiler" userId="a0f496a5-efc4-4b52-959d-5e95987cae8c" providerId="ADAL" clId="{46BE184E-840E-48D3-B624-C448522A216F}" dt="2026-02-10T15:21:03.529" v="2116" actId="20577"/>
          <ac:spMkLst>
            <pc:docMk/>
            <pc:sldMk cId="326443727" sldId="141169058"/>
            <ac:spMk id="5" creationId="{980BABEF-87C0-9F5A-DADF-C0F9FFEF3236}"/>
          </ac:spMkLst>
        </pc:spChg>
      </pc:sldChg>
      <pc:sldChg chg="addSp delSp modSp mod">
        <pc:chgData name="Mascha Theiler" userId="a0f496a5-efc4-4b52-959d-5e95987cae8c" providerId="ADAL" clId="{46BE184E-840E-48D3-B624-C448522A216F}" dt="2026-02-11T09:17:16.238" v="2456"/>
        <pc:sldMkLst>
          <pc:docMk/>
          <pc:sldMk cId="1049694740" sldId="141169059"/>
        </pc:sldMkLst>
        <pc:spChg chg="mod">
          <ac:chgData name="Mascha Theiler" userId="a0f496a5-efc4-4b52-959d-5e95987cae8c" providerId="ADAL" clId="{46BE184E-840E-48D3-B624-C448522A216F}" dt="2026-02-10T15:26:36.553" v="2348" actId="20577"/>
          <ac:spMkLst>
            <pc:docMk/>
            <pc:sldMk cId="1049694740" sldId="141169059"/>
            <ac:spMk id="2" creationId="{736D5895-E3D7-6503-4C49-85DA58CF7E61}"/>
          </ac:spMkLst>
        </pc:spChg>
        <pc:spChg chg="mod">
          <ac:chgData name="Mascha Theiler" userId="a0f496a5-efc4-4b52-959d-5e95987cae8c" providerId="ADAL" clId="{46BE184E-840E-48D3-B624-C448522A216F}" dt="2026-02-11T09:17:16.238" v="2456"/>
          <ac:spMkLst>
            <pc:docMk/>
            <pc:sldMk cId="1049694740" sldId="141169059"/>
            <ac:spMk id="3" creationId="{BF8A2A52-9C46-DC6A-3EC7-720D12EF3EA0}"/>
          </ac:spMkLst>
        </pc:spChg>
        <pc:spChg chg="mod">
          <ac:chgData name="Mascha Theiler" userId="a0f496a5-efc4-4b52-959d-5e95987cae8c" providerId="ADAL" clId="{46BE184E-840E-48D3-B624-C448522A216F}" dt="2026-02-10T15:26:44.173" v="2391" actId="20577"/>
          <ac:spMkLst>
            <pc:docMk/>
            <pc:sldMk cId="1049694740" sldId="141169059"/>
            <ac:spMk id="5" creationId="{69145080-0E44-989A-6F9D-76D5BA3F4449}"/>
          </ac:spMkLst>
        </pc:spChg>
        <pc:graphicFrameChg chg="add del modGraphic">
          <ac:chgData name="Mascha Theiler" userId="a0f496a5-efc4-4b52-959d-5e95987cae8c" providerId="ADAL" clId="{46BE184E-840E-48D3-B624-C448522A216F}" dt="2026-02-10T15:26:20.553" v="2319" actId="27309"/>
          <ac:graphicFrameMkLst>
            <pc:docMk/>
            <pc:sldMk cId="1049694740" sldId="141169059"/>
            <ac:graphicFrameMk id="8" creationId="{F159B72B-A40E-3D30-ED0C-3B30401E3C9C}"/>
          </ac:graphicFrameMkLst>
        </pc:graphicFrameChg>
      </pc:sldChg>
      <pc:sldChg chg="modSp mod">
        <pc:chgData name="Mascha Theiler" userId="a0f496a5-efc4-4b52-959d-5e95987cae8c" providerId="ADAL" clId="{46BE184E-840E-48D3-B624-C448522A216F}" dt="2026-02-10T09:21:46.517" v="485" actId="113"/>
        <pc:sldMkLst>
          <pc:docMk/>
          <pc:sldMk cId="2025538843" sldId="141169060"/>
        </pc:sldMkLst>
        <pc:spChg chg="mod">
          <ac:chgData name="Mascha Theiler" userId="a0f496a5-efc4-4b52-959d-5e95987cae8c" providerId="ADAL" clId="{46BE184E-840E-48D3-B624-C448522A216F}" dt="2026-02-10T09:21:46.517" v="485" actId="113"/>
          <ac:spMkLst>
            <pc:docMk/>
            <pc:sldMk cId="2025538843" sldId="141169060"/>
            <ac:spMk id="2" creationId="{0D222DA5-3C31-1024-B60D-20C5736E9360}"/>
          </ac:spMkLst>
        </pc:spChg>
        <pc:spChg chg="mod">
          <ac:chgData name="Mascha Theiler" userId="a0f496a5-efc4-4b52-959d-5e95987cae8c" providerId="ADAL" clId="{46BE184E-840E-48D3-B624-C448522A216F}" dt="2026-02-10T09:20:44.014" v="482" actId="11"/>
          <ac:spMkLst>
            <pc:docMk/>
            <pc:sldMk cId="2025538843" sldId="141169060"/>
            <ac:spMk id="5" creationId="{DF7582DE-37A6-E1E9-A70B-79E8AFCD3E7C}"/>
          </ac:spMkLst>
        </pc:spChg>
        <pc:spChg chg="mod">
          <ac:chgData name="Mascha Theiler" userId="a0f496a5-efc4-4b52-959d-5e95987cae8c" providerId="ADAL" clId="{46BE184E-840E-48D3-B624-C448522A216F}" dt="2026-02-10T09:21:25.130" v="483"/>
          <ac:spMkLst>
            <pc:docMk/>
            <pc:sldMk cId="2025538843" sldId="141169060"/>
            <ac:spMk id="6" creationId="{7DF7CA89-27F9-DC87-8456-66726CF69803}"/>
          </ac:spMkLst>
        </pc:spChg>
        <pc:spChg chg="mod">
          <ac:chgData name="Mascha Theiler" userId="a0f496a5-efc4-4b52-959d-5e95987cae8c" providerId="ADAL" clId="{46BE184E-840E-48D3-B624-C448522A216F}" dt="2026-02-10T09:20:04.057" v="478" actId="20577"/>
          <ac:spMkLst>
            <pc:docMk/>
            <pc:sldMk cId="2025538843" sldId="141169060"/>
            <ac:spMk id="8" creationId="{E6A52FD3-28E0-1031-750E-21584209651B}"/>
          </ac:spMkLst>
        </pc:spChg>
      </pc:sldChg>
      <pc:sldChg chg="modSp mod">
        <pc:chgData name="Mascha Theiler" userId="a0f496a5-efc4-4b52-959d-5e95987cae8c" providerId="ADAL" clId="{46BE184E-840E-48D3-B624-C448522A216F}" dt="2026-02-10T09:19:48.193" v="437" actId="11"/>
        <pc:sldMkLst>
          <pc:docMk/>
          <pc:sldMk cId="843153256" sldId="141169061"/>
        </pc:sldMkLst>
        <pc:spChg chg="mod">
          <ac:chgData name="Mascha Theiler" userId="a0f496a5-efc4-4b52-959d-5e95987cae8c" providerId="ADAL" clId="{46BE184E-840E-48D3-B624-C448522A216F}" dt="2026-02-10T09:18:32.142" v="434" actId="20577"/>
          <ac:spMkLst>
            <pc:docMk/>
            <pc:sldMk cId="843153256" sldId="141169061"/>
            <ac:spMk id="2" creationId="{460B7DB5-C121-2BA0-2ADC-BCBB9369C5C0}"/>
          </ac:spMkLst>
        </pc:spChg>
        <pc:spChg chg="mod">
          <ac:chgData name="Mascha Theiler" userId="a0f496a5-efc4-4b52-959d-5e95987cae8c" providerId="ADAL" clId="{46BE184E-840E-48D3-B624-C448522A216F}" dt="2026-02-10T09:19:48.193" v="437" actId="11"/>
          <ac:spMkLst>
            <pc:docMk/>
            <pc:sldMk cId="843153256" sldId="141169061"/>
            <ac:spMk id="5" creationId="{41F95716-7FE4-1B03-FF38-A231DF0B84E5}"/>
          </ac:spMkLst>
        </pc:spChg>
        <pc:spChg chg="mod">
          <ac:chgData name="Mascha Theiler" userId="a0f496a5-efc4-4b52-959d-5e95987cae8c" providerId="ADAL" clId="{46BE184E-840E-48D3-B624-C448522A216F}" dt="2026-02-10T09:18:50.402" v="435"/>
          <ac:spMkLst>
            <pc:docMk/>
            <pc:sldMk cId="843153256" sldId="141169061"/>
            <ac:spMk id="6" creationId="{9A8E18D8-7C0D-1F80-949D-CD397B846B2A}"/>
          </ac:spMkLst>
        </pc:spChg>
        <pc:spChg chg="mod">
          <ac:chgData name="Mascha Theiler" userId="a0f496a5-efc4-4b52-959d-5e95987cae8c" providerId="ADAL" clId="{46BE184E-840E-48D3-B624-C448522A216F}" dt="2026-02-10T09:18:27.284" v="422" actId="20577"/>
          <ac:spMkLst>
            <pc:docMk/>
            <pc:sldMk cId="843153256" sldId="141169061"/>
            <ac:spMk id="8" creationId="{B440DA4D-BB92-DD2A-441D-AE0A72DB91FF}"/>
          </ac:spMkLst>
        </pc:spChg>
      </pc:sldChg>
      <pc:sldChg chg="modSp mod">
        <pc:chgData name="Mascha Theiler" userId="a0f496a5-efc4-4b52-959d-5e95987cae8c" providerId="ADAL" clId="{46BE184E-840E-48D3-B624-C448522A216F}" dt="2026-02-10T15:27:40.280" v="2425" actId="20577"/>
        <pc:sldMkLst>
          <pc:docMk/>
          <pc:sldMk cId="884359921" sldId="141169062"/>
        </pc:sldMkLst>
        <pc:spChg chg="mod">
          <ac:chgData name="Mascha Theiler" userId="a0f496a5-efc4-4b52-959d-5e95987cae8c" providerId="ADAL" clId="{46BE184E-840E-48D3-B624-C448522A216F}" dt="2026-02-10T13:33:10.718" v="976" actId="20577"/>
          <ac:spMkLst>
            <pc:docMk/>
            <pc:sldMk cId="884359921" sldId="141169062"/>
            <ac:spMk id="2" creationId="{5E564D24-46D7-ADF9-DB90-D20C8BA474D7}"/>
          </ac:spMkLst>
        </pc:spChg>
        <pc:spChg chg="mod">
          <ac:chgData name="Mascha Theiler" userId="a0f496a5-efc4-4b52-959d-5e95987cae8c" providerId="ADAL" clId="{46BE184E-840E-48D3-B624-C448522A216F}" dt="2026-02-10T15:27:40.280" v="2425" actId="20577"/>
          <ac:spMkLst>
            <pc:docMk/>
            <pc:sldMk cId="884359921" sldId="141169062"/>
            <ac:spMk id="6" creationId="{04BFBDAE-CF8D-D241-52D1-8BAF12233F60}"/>
          </ac:spMkLst>
        </pc:spChg>
        <pc:spChg chg="mod">
          <ac:chgData name="Mascha Theiler" userId="a0f496a5-efc4-4b52-959d-5e95987cae8c" providerId="ADAL" clId="{46BE184E-840E-48D3-B624-C448522A216F}" dt="2026-02-10T13:33:17.887" v="993" actId="20577"/>
          <ac:spMkLst>
            <pc:docMk/>
            <pc:sldMk cId="884359921" sldId="141169062"/>
            <ac:spMk id="7" creationId="{9B80623C-F537-6A35-93A4-3C01A11F1DA9}"/>
          </ac:spMkLst>
        </pc:spChg>
        <pc:spChg chg="mod">
          <ac:chgData name="Mascha Theiler" userId="a0f496a5-efc4-4b52-959d-5e95987cae8c" providerId="ADAL" clId="{46BE184E-840E-48D3-B624-C448522A216F}" dt="2026-02-10T13:32:29.819" v="951" actId="20577"/>
          <ac:spMkLst>
            <pc:docMk/>
            <pc:sldMk cId="884359921" sldId="141169062"/>
            <ac:spMk id="8" creationId="{9028D3E6-E9C7-068F-15B6-7EDFC7CDD028}"/>
          </ac:spMkLst>
        </pc:spChg>
      </pc:sldChg>
      <pc:sldChg chg="modSp mod">
        <pc:chgData name="Mascha Theiler" userId="a0f496a5-efc4-4b52-959d-5e95987cae8c" providerId="ADAL" clId="{46BE184E-840E-48D3-B624-C448522A216F}" dt="2026-02-10T15:10:13.676" v="1433" actId="20577"/>
        <pc:sldMkLst>
          <pc:docMk/>
          <pc:sldMk cId="3483247959" sldId="141169063"/>
        </pc:sldMkLst>
        <pc:spChg chg="mod">
          <ac:chgData name="Mascha Theiler" userId="a0f496a5-efc4-4b52-959d-5e95987cae8c" providerId="ADAL" clId="{46BE184E-840E-48D3-B624-C448522A216F}" dt="2026-02-10T14:59:37.674" v="1367" actId="20577"/>
          <ac:spMkLst>
            <pc:docMk/>
            <pc:sldMk cId="3483247959" sldId="141169063"/>
            <ac:spMk id="2" creationId="{D8FD8DF3-F7DD-6FBB-D9A8-6B6078580B83}"/>
          </ac:spMkLst>
        </pc:spChg>
        <pc:spChg chg="mod">
          <ac:chgData name="Mascha Theiler" userId="a0f496a5-efc4-4b52-959d-5e95987cae8c" providerId="ADAL" clId="{46BE184E-840E-48D3-B624-C448522A216F}" dt="2026-02-10T15:10:13.676" v="1433" actId="20577"/>
          <ac:spMkLst>
            <pc:docMk/>
            <pc:sldMk cId="3483247959" sldId="141169063"/>
            <ac:spMk id="5" creationId="{C6834281-3E6F-FDDA-F8E2-E71173134997}"/>
          </ac:spMkLst>
        </pc:spChg>
        <pc:spChg chg="mod">
          <ac:chgData name="Mascha Theiler" userId="a0f496a5-efc4-4b52-959d-5e95987cae8c" providerId="ADAL" clId="{46BE184E-840E-48D3-B624-C448522A216F}" dt="2026-02-10T14:59:50.980" v="1425" actId="20577"/>
          <ac:spMkLst>
            <pc:docMk/>
            <pc:sldMk cId="3483247959" sldId="141169063"/>
            <ac:spMk id="6" creationId="{AED43D06-6DF5-C8E4-A411-6D91E8ED4C5A}"/>
          </ac:spMkLst>
        </pc:spChg>
        <pc:spChg chg="mod">
          <ac:chgData name="Mascha Theiler" userId="a0f496a5-efc4-4b52-959d-5e95987cae8c" providerId="ADAL" clId="{46BE184E-840E-48D3-B624-C448522A216F}" dt="2026-02-10T14:59:45.439" v="1408" actId="20577"/>
          <ac:spMkLst>
            <pc:docMk/>
            <pc:sldMk cId="3483247959" sldId="141169063"/>
            <ac:spMk id="8" creationId="{BF92D196-BE58-E449-936B-757B3559D8AA}"/>
          </ac:spMkLst>
        </pc:spChg>
      </pc:sldChg>
      <pc:sldChg chg="modSp mod">
        <pc:chgData name="Mascha Theiler" userId="a0f496a5-efc4-4b52-959d-5e95987cae8c" providerId="ADAL" clId="{46BE184E-840E-48D3-B624-C448522A216F}" dt="2026-02-10T15:27:57.116" v="2440" actId="20577"/>
        <pc:sldMkLst>
          <pc:docMk/>
          <pc:sldMk cId="1317776757" sldId="141169064"/>
        </pc:sldMkLst>
        <pc:spChg chg="mod">
          <ac:chgData name="Mascha Theiler" userId="a0f496a5-efc4-4b52-959d-5e95987cae8c" providerId="ADAL" clId="{46BE184E-840E-48D3-B624-C448522A216F}" dt="2026-02-10T15:14:07.504" v="1696" actId="20577"/>
          <ac:spMkLst>
            <pc:docMk/>
            <pc:sldMk cId="1317776757" sldId="141169064"/>
            <ac:spMk id="2" creationId="{2D930261-160D-37C1-1B29-FEF507B19A4F}"/>
          </ac:spMkLst>
        </pc:spChg>
        <pc:spChg chg="mod">
          <ac:chgData name="Mascha Theiler" userId="a0f496a5-efc4-4b52-959d-5e95987cae8c" providerId="ADAL" clId="{46BE184E-840E-48D3-B624-C448522A216F}" dt="2026-02-10T15:27:57.116" v="2440" actId="20577"/>
          <ac:spMkLst>
            <pc:docMk/>
            <pc:sldMk cId="1317776757" sldId="141169064"/>
            <ac:spMk id="5" creationId="{53ED9CB3-BA55-30C5-5985-46B18189C2A7}"/>
          </ac:spMkLst>
        </pc:spChg>
        <pc:spChg chg="mod">
          <ac:chgData name="Mascha Theiler" userId="a0f496a5-efc4-4b52-959d-5e95987cae8c" providerId="ADAL" clId="{46BE184E-840E-48D3-B624-C448522A216F}" dt="2026-02-10T15:14:12.450" v="1713" actId="20577"/>
          <ac:spMkLst>
            <pc:docMk/>
            <pc:sldMk cId="1317776757" sldId="141169064"/>
            <ac:spMk id="6" creationId="{EF54AE37-B4BD-6B27-943F-3ADBBCC1EFE9}"/>
          </ac:spMkLst>
        </pc:spChg>
        <pc:spChg chg="mod">
          <ac:chgData name="Mascha Theiler" userId="a0f496a5-efc4-4b52-959d-5e95987cae8c" providerId="ADAL" clId="{46BE184E-840E-48D3-B624-C448522A216F}" dt="2026-02-10T15:13:32.697" v="1677" actId="20577"/>
          <ac:spMkLst>
            <pc:docMk/>
            <pc:sldMk cId="1317776757" sldId="141169064"/>
            <ac:spMk id="8" creationId="{8D5C292E-85BA-3BB9-F198-BEC5E91C5E23}"/>
          </ac:spMkLst>
        </pc:spChg>
      </pc:sldChg>
      <pc:sldChg chg="modSp mod">
        <pc:chgData name="Mascha Theiler" userId="a0f496a5-efc4-4b52-959d-5e95987cae8c" providerId="ADAL" clId="{46BE184E-840E-48D3-B624-C448522A216F}" dt="2026-02-10T15:21:58.396" v="2122" actId="20577"/>
        <pc:sldMkLst>
          <pc:docMk/>
          <pc:sldMk cId="2776487103" sldId="141169066"/>
        </pc:sldMkLst>
        <pc:spChg chg="mod">
          <ac:chgData name="Mascha Theiler" userId="a0f496a5-efc4-4b52-959d-5e95987cae8c" providerId="ADAL" clId="{46BE184E-840E-48D3-B624-C448522A216F}" dt="2026-02-10T15:20:27.342" v="2003" actId="20577"/>
          <ac:spMkLst>
            <pc:docMk/>
            <pc:sldMk cId="2776487103" sldId="141169066"/>
            <ac:spMk id="2" creationId="{7FDC0158-2403-0279-8AC4-FA347F5591CA}"/>
          </ac:spMkLst>
        </pc:spChg>
        <pc:spChg chg="mod">
          <ac:chgData name="Mascha Theiler" userId="a0f496a5-efc4-4b52-959d-5e95987cae8c" providerId="ADAL" clId="{46BE184E-840E-48D3-B624-C448522A216F}" dt="2026-02-10T15:21:58.396" v="2122" actId="20577"/>
          <ac:spMkLst>
            <pc:docMk/>
            <pc:sldMk cId="2776487103" sldId="141169066"/>
            <ac:spMk id="5" creationId="{3CF770A8-C6D3-D0B3-91C2-ECDEF7DC9182}"/>
          </ac:spMkLst>
        </pc:spChg>
        <pc:spChg chg="mod">
          <ac:chgData name="Mascha Theiler" userId="a0f496a5-efc4-4b52-959d-5e95987cae8c" providerId="ADAL" clId="{46BE184E-840E-48D3-B624-C448522A216F}" dt="2026-02-10T15:20:12.162" v="1986" actId="20577"/>
          <ac:spMkLst>
            <pc:docMk/>
            <pc:sldMk cId="2776487103" sldId="141169066"/>
            <ac:spMk id="6" creationId="{FF5A09C4-ACFD-28DC-7DC8-2874672C560A}"/>
          </ac:spMkLst>
        </pc:spChg>
        <pc:spChg chg="mod">
          <ac:chgData name="Mascha Theiler" userId="a0f496a5-efc4-4b52-959d-5e95987cae8c" providerId="ADAL" clId="{46BE184E-840E-48D3-B624-C448522A216F}" dt="2026-02-10T15:20:35.695" v="2044" actId="20577"/>
          <ac:spMkLst>
            <pc:docMk/>
            <pc:sldMk cId="2776487103" sldId="141169066"/>
            <ac:spMk id="8" creationId="{A1FD6CD1-8BF5-07C0-23A6-15FAFA3D5018}"/>
          </ac:spMkLst>
        </pc:spChg>
      </pc:sldChg>
      <pc:sldChg chg="modSp mod">
        <pc:chgData name="Mascha Theiler" userId="a0f496a5-efc4-4b52-959d-5e95987cae8c" providerId="ADAL" clId="{46BE184E-840E-48D3-B624-C448522A216F}" dt="2026-02-10T15:27:11.462" v="2412" actId="20577"/>
        <pc:sldMkLst>
          <pc:docMk/>
          <pc:sldMk cId="740029540" sldId="141169068"/>
        </pc:sldMkLst>
        <pc:spChg chg="mod">
          <ac:chgData name="Mascha Theiler" userId="a0f496a5-efc4-4b52-959d-5e95987cae8c" providerId="ADAL" clId="{46BE184E-840E-48D3-B624-C448522A216F}" dt="2026-02-10T15:25:46.241" v="2259" actId="20577"/>
          <ac:spMkLst>
            <pc:docMk/>
            <pc:sldMk cId="740029540" sldId="141169068"/>
            <ac:spMk id="2" creationId="{51D46471-DE0C-6E16-B553-E0F16B3F0640}"/>
          </ac:spMkLst>
        </pc:spChg>
        <pc:spChg chg="mod">
          <ac:chgData name="Mascha Theiler" userId="a0f496a5-efc4-4b52-959d-5e95987cae8c" providerId="ADAL" clId="{46BE184E-840E-48D3-B624-C448522A216F}" dt="2026-02-10T15:27:11.462" v="2412" actId="20577"/>
          <ac:spMkLst>
            <pc:docMk/>
            <pc:sldMk cId="740029540" sldId="141169068"/>
            <ac:spMk id="5" creationId="{111C8C73-DB07-72F6-1BC3-013C5C7DC422}"/>
          </ac:spMkLst>
        </pc:spChg>
        <pc:spChg chg="mod">
          <ac:chgData name="Mascha Theiler" userId="a0f496a5-efc4-4b52-959d-5e95987cae8c" providerId="ADAL" clId="{46BE184E-840E-48D3-B624-C448522A216F}" dt="2026-02-10T15:25:51.573" v="2276" actId="20577"/>
          <ac:spMkLst>
            <pc:docMk/>
            <pc:sldMk cId="740029540" sldId="141169068"/>
            <ac:spMk id="6" creationId="{AB89E7DD-E0EE-1ACC-3E60-1949ED5E89C3}"/>
          </ac:spMkLst>
        </pc:spChg>
        <pc:spChg chg="mod">
          <ac:chgData name="Mascha Theiler" userId="a0f496a5-efc4-4b52-959d-5e95987cae8c" providerId="ADAL" clId="{46BE184E-840E-48D3-B624-C448522A216F}" dt="2026-02-10T15:25:59.976" v="2317" actId="20577"/>
          <ac:spMkLst>
            <pc:docMk/>
            <pc:sldMk cId="740029540" sldId="141169068"/>
            <ac:spMk id="8" creationId="{DBB7C39D-FB8B-FA99-4394-AF4201A8B0A4}"/>
          </ac:spMkLst>
        </pc:spChg>
      </pc:sldChg>
      <pc:sldChg chg="addSp delSp modSp new del mod">
        <pc:chgData name="Mascha Theiler" userId="a0f496a5-efc4-4b52-959d-5e95987cae8c" providerId="ADAL" clId="{46BE184E-840E-48D3-B624-C448522A216F}" dt="2026-02-11T09:17:19.528" v="2457" actId="47"/>
        <pc:sldMkLst>
          <pc:docMk/>
          <pc:sldMk cId="1086056515" sldId="141169069"/>
        </pc:sldMkLst>
        <pc:spChg chg="add del mod">
          <ac:chgData name="Mascha Theiler" userId="a0f496a5-efc4-4b52-959d-5e95987cae8c" providerId="ADAL" clId="{46BE184E-840E-48D3-B624-C448522A216F}" dt="2026-02-11T09:17:13.365" v="2455" actId="21"/>
          <ac:spMkLst>
            <pc:docMk/>
            <pc:sldMk cId="1086056515" sldId="141169069"/>
            <ac:spMk id="3" creationId="{F7AF7C5A-59E4-B3F4-E6D8-ED4603F5A50C}"/>
          </ac:spMkLst>
        </pc:spChg>
        <pc:spChg chg="add mod">
          <ac:chgData name="Mascha Theiler" userId="a0f496a5-efc4-4b52-959d-5e95987cae8c" providerId="ADAL" clId="{46BE184E-840E-48D3-B624-C448522A216F}" dt="2026-02-10T15:28:55.561" v="2443"/>
          <ac:spMkLst>
            <pc:docMk/>
            <pc:sldMk cId="1086056515" sldId="141169069"/>
            <ac:spMk id="6" creationId="{ECD3D78A-DF6C-365F-0087-D3448C64631F}"/>
          </ac:spMkLst>
        </pc:spChg>
      </pc:sldChg>
      <pc:sldChg chg="addSp delSp modSp new add del">
        <pc:chgData name="Mascha Theiler" userId="a0f496a5-efc4-4b52-959d-5e95987cae8c" providerId="ADAL" clId="{46BE184E-840E-48D3-B624-C448522A216F}" dt="2026-02-10T14:54:56.436" v="1156" actId="47"/>
        <pc:sldMkLst>
          <pc:docMk/>
          <pc:sldMk cId="3695628148" sldId="141169069"/>
        </pc:sldMkLst>
        <pc:spChg chg="del">
          <ac:chgData name="Mascha Theiler" userId="a0f496a5-efc4-4b52-959d-5e95987cae8c" providerId="ADAL" clId="{46BE184E-840E-48D3-B624-C448522A216F}" dt="2026-02-10T13:43:52.421" v="1147"/>
          <ac:spMkLst>
            <pc:docMk/>
            <pc:sldMk cId="3695628148" sldId="141169069"/>
            <ac:spMk id="3" creationId="{ADFE368F-6BE7-A4E3-7C21-31C3A841EDC1}"/>
          </ac:spMkLst>
        </pc:spChg>
        <pc:spChg chg="add mod">
          <ac:chgData name="Mascha Theiler" userId="a0f496a5-efc4-4b52-959d-5e95987cae8c" providerId="ADAL" clId="{46BE184E-840E-48D3-B624-C448522A216F}" dt="2026-02-10T13:43:52.421" v="1147"/>
          <ac:spMkLst>
            <pc:docMk/>
            <pc:sldMk cId="3695628148" sldId="141169069"/>
            <ac:spMk id="6" creationId="{A52B9050-0839-3404-6866-3851644F100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11.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11.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DBFD45-EBE1-A536-99A4-17EBEC85E1DA}"/>
              </a:ext>
            </a:extLst>
          </p:cNvPr>
          <p:cNvGraphicFramePr>
            <a:graphicFrameLocks noChangeAspect="1"/>
          </p:cNvGraphicFramePr>
          <p:nvPr userDrawn="1">
            <p:custDataLst>
              <p:tags r:id="rId30"/>
            </p:custDataLst>
            <p:extLst>
              <p:ext uri="{D42A27DB-BD31-4B8C-83A1-F6EECF244321}">
                <p14:modId xmlns:p14="http://schemas.microsoft.com/office/powerpoint/2010/main" val="29218918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5" name="think-cell data - do not delete" hidden="1">
                        <a:extLst>
                          <a:ext uri="{FF2B5EF4-FFF2-40B4-BE49-F238E27FC236}">
                            <a16:creationId xmlns:a16="http://schemas.microsoft.com/office/drawing/2014/main" id="{5CDBFD45-EBE1-A536-99A4-17EBEC85E1DA}"/>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hyperlink" Target="https://nfp73.ch/en/topics/agriculture-and-nutrition" TargetMode="Externa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4.xml"/><Relationship Id="rId1" Type="http://schemas.openxmlformats.org/officeDocument/2006/relationships/tags" Target="../tags/tag9.xml"/><Relationship Id="rId5" Type="http://schemas.openxmlformats.org/officeDocument/2006/relationships/image" Target="../media/image23.jpg"/><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24.emf"/></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nfp73.ch/en/topics/circular-economy" TargetMode="Externa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2.xml"/><Relationship Id="rId5" Type="http://schemas.openxmlformats.org/officeDocument/2006/relationships/image" Target="../media/image27.emf"/><Relationship Id="rId4" Type="http://schemas.openxmlformats.org/officeDocument/2006/relationships/image" Target="../media/image2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hyperlink" Target="https://nfp73.ch/en/topics/building-and-construction"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6.xml"/><Relationship Id="rId1" Type="http://schemas.openxmlformats.org/officeDocument/2006/relationships/tags" Target="../tags/tag15.xml"/><Relationship Id="rId5" Type="http://schemas.openxmlformats.org/officeDocument/2006/relationships/image" Target="../media/image31.jpeg"/><Relationship Id="rId4" Type="http://schemas.openxmlformats.org/officeDocument/2006/relationships/image" Target="../media/image30.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3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32.emf"/></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nfp73.ch/en/topics/sustainable-behaviour" TargetMode="Externa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tags" Target="../tags/tag18.xml"/><Relationship Id="rId5" Type="http://schemas.openxmlformats.org/officeDocument/2006/relationships/image" Target="../media/image35.jpeg"/><Relationship Id="rId4" Type="http://schemas.openxmlformats.org/officeDocument/2006/relationships/image" Target="../media/image34.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6.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9.xml"/><Relationship Id="rId1" Type="http://schemas.openxmlformats.org/officeDocument/2006/relationships/tags" Target="../tags/tag20.xml"/><Relationship Id="rId4" Type="http://schemas.openxmlformats.org/officeDocument/2006/relationships/image" Target="../media/image36.emf"/></Relationships>
</file>

<file path=ppt/slides/_rels/slide3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hyperlink" Target="https://nfp73.ch/en/topics/forest-management" TargetMode="Externa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7.xml"/><Relationship Id="rId1" Type="http://schemas.openxmlformats.org/officeDocument/2006/relationships/tags" Target="../tags/tag21.xml"/><Relationship Id="rId5" Type="http://schemas.openxmlformats.org/officeDocument/2006/relationships/image" Target="../media/image39.jpg"/><Relationship Id="rId4" Type="http://schemas.openxmlformats.org/officeDocument/2006/relationships/image" Target="../media/image3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image" Target="../media/image40.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hyperlink" Target="https://nfp73.ch/download/85/Gesamt_NFP73_DE_260623.pdf?inline=true" TargetMode="External"/><Relationship Id="rId5" Type="http://schemas.openxmlformats.org/officeDocument/2006/relationships/hyperlink" Target="https://nfp73.ch/download/86/Gesamt_NFP73_EN_26-6-2023.pdf?inline=true" TargetMode="External"/><Relationship Id="rId4" Type="http://schemas.openxmlformats.org/officeDocument/2006/relationships/image" Target="../media/image41.emf"/></Relationships>
</file>

<file path=ppt/slides/_rels/slide38.xml.rels><?xml version="1.0" encoding="UTF-8" standalone="yes"?>
<Relationships xmlns="http://schemas.openxmlformats.org/package/2006/relationships"><Relationship Id="rId2" Type="http://schemas.openxmlformats.org/officeDocument/2006/relationships/hyperlink" Target="https://www.youtube.com/watch?v=jvGvsCyabBI" TargetMode="Externa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nfp73.ch/download/86/Gesamt_NFP73_EN_26-6-2023.pdf?inline=true"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4" Type="http://schemas.openxmlformats.org/officeDocument/2006/relationships/image" Target="../media/image1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close-up of a colorful toy&#10;&#10;AI-generated content may be incorrect.">
            <a:extLst>
              <a:ext uri="{FF2B5EF4-FFF2-40B4-BE49-F238E27FC236}">
                <a16:creationId xmlns:a16="http://schemas.microsoft.com/office/drawing/2014/main" id="{A96F868D-EF02-FE90-53BB-A1748F6AE8F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94" b="9694"/>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de-CH" dirty="0"/>
              <a:t>Synthesis : Policy </a:t>
            </a:r>
            <a:r>
              <a:rPr lang="de-CH" dirty="0" err="1"/>
              <a:t>Recommendations</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en-GB" dirty="0"/>
          </a:p>
        </p:txBody>
      </p:sp>
      <p:pic>
        <p:nvPicPr>
          <p:cNvPr id="2" name="Picture 1">
            <a:extLst>
              <a:ext uri="{FF2B5EF4-FFF2-40B4-BE49-F238E27FC236}">
                <a16:creationId xmlns:a16="http://schemas.microsoft.com/office/drawing/2014/main" id="{B512BB73-8949-25AC-D444-B7FB71B275B0}"/>
              </a:ext>
            </a:extLst>
          </p:cNvPr>
          <p:cNvPicPr>
            <a:picLocks noChangeAspect="1"/>
          </p:cNvPicPr>
          <p:nvPr/>
        </p:nvPicPr>
        <p:blipFill>
          <a:blip r:embed="rId3"/>
          <a:stretch>
            <a:fillRect/>
          </a:stretch>
        </p:blipFill>
        <p:spPr>
          <a:xfrm>
            <a:off x="471637" y="5894560"/>
            <a:ext cx="2839454" cy="854098"/>
          </a:xfrm>
          <a:prstGeom prst="rect">
            <a:avLst/>
          </a:prstGeom>
        </p:spPr>
      </p:pic>
      <p:pic>
        <p:nvPicPr>
          <p:cNvPr id="4" name="Picture 2" descr="Green Hospital - Nationales Forschungsprogramm 73">
            <a:extLst>
              <a:ext uri="{FF2B5EF4-FFF2-40B4-BE49-F238E27FC236}">
                <a16:creationId xmlns:a16="http://schemas.microsoft.com/office/drawing/2014/main" id="{962C71F2-355E-C6C9-2B04-2B4511C148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37" y="536391"/>
            <a:ext cx="3455470" cy="691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221D131-0049-2783-61DD-1030F39011DB}"/>
              </a:ext>
            </a:extLst>
          </p:cNvPr>
          <p:cNvGraphicFramePr>
            <a:graphicFrameLocks noChangeAspect="1"/>
          </p:cNvGraphicFramePr>
          <p:nvPr>
            <p:custDataLst>
              <p:tags r:id="rId1"/>
            </p:custDataLst>
            <p:extLst>
              <p:ext uri="{D42A27DB-BD31-4B8C-83A1-F6EECF244321}">
                <p14:modId xmlns:p14="http://schemas.microsoft.com/office/powerpoint/2010/main" val="42284490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221D131-0049-2783-61DD-1030F39011D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4892C4-0F31-631E-845C-503CF77EDB13}"/>
              </a:ext>
            </a:extLst>
          </p:cNvPr>
          <p:cNvSpPr>
            <a:spLocks noGrp="1"/>
          </p:cNvSpPr>
          <p:nvPr>
            <p:ph type="title"/>
          </p:nvPr>
        </p:nvSpPr>
        <p:spPr/>
        <p:txBody>
          <a:bodyPr vert="horz"/>
          <a:lstStyle/>
          <a:p>
            <a:pPr>
              <a:spcAft>
                <a:spcPts val="600"/>
              </a:spcAft>
            </a:pPr>
            <a:r>
              <a:rPr lang="de-CH" dirty="0"/>
              <a:t>Policy </a:t>
            </a:r>
            <a:r>
              <a:rPr lang="de-CH" dirty="0" err="1"/>
              <a:t>recommendations</a:t>
            </a:r>
            <a:r>
              <a:rPr lang="de-CH" dirty="0"/>
              <a:t> I</a:t>
            </a:r>
            <a:br>
              <a:rPr lang="de-CH" dirty="0"/>
            </a:br>
            <a:br>
              <a:rPr lang="de-CH" sz="1500" dirty="0"/>
            </a:br>
            <a:r>
              <a:rPr lang="en-US" sz="1600" dirty="0"/>
              <a:t>Based on the results of NFP 73, eight recommendations were developed for the Swiss government:</a:t>
            </a:r>
            <a:endParaRPr lang="de-CH" sz="1600" dirty="0"/>
          </a:p>
        </p:txBody>
      </p:sp>
      <p:sp>
        <p:nvSpPr>
          <p:cNvPr id="3" name="Text Placeholder 2">
            <a:extLst>
              <a:ext uri="{FF2B5EF4-FFF2-40B4-BE49-F238E27FC236}">
                <a16:creationId xmlns:a16="http://schemas.microsoft.com/office/drawing/2014/main" id="{83C876E6-817B-F73D-E502-F8DB7B70A97F}"/>
              </a:ext>
            </a:extLst>
          </p:cNvPr>
          <p:cNvSpPr>
            <a:spLocks noGrp="1"/>
          </p:cNvSpPr>
          <p:nvPr>
            <p:ph type="body" sz="quarter" idx="13"/>
          </p:nvPr>
        </p:nvSpPr>
        <p:spPr/>
        <p:txBody>
          <a:bodyPr/>
          <a:lstStyle/>
          <a:p>
            <a:pPr marL="342900" indent="-342900">
              <a:buFont typeface="+mj-lt"/>
              <a:buAutoNum type="arabicPeriod"/>
            </a:pPr>
            <a:r>
              <a:rPr lang="en-US" b="1" dirty="0"/>
              <a:t>Sustainable technologies and innovations should be supported through sustainable financial instruments such as green bonds</a:t>
            </a:r>
            <a:r>
              <a:rPr lang="en-US" dirty="0"/>
              <a:t>, which NFP 73 research has shown to be effective. This could help position Switzerland as one of the leading knowledge and infrastructure hubs for sustainable finance.</a:t>
            </a:r>
          </a:p>
          <a:p>
            <a:pPr marL="342900" indent="-342900">
              <a:buFont typeface="+mj-lt"/>
              <a:buAutoNum type="arabicPeriod"/>
            </a:pPr>
            <a:endParaRPr lang="en-US" dirty="0"/>
          </a:p>
          <a:p>
            <a:pPr marL="342900" indent="-342900">
              <a:buFont typeface="+mj-lt"/>
              <a:buAutoNum type="arabicPeriod"/>
            </a:pPr>
            <a:r>
              <a:rPr lang="en-US" b="1" dirty="0"/>
              <a:t>Innovations also require long-term investment and policy incentives, as well as engagement from and trust in public authorities. </a:t>
            </a:r>
            <a:r>
              <a:rPr lang="en-US" dirty="0"/>
              <a:t>However, if these innovations increase resource efficiency and lead to higher disposable incomes, this can in turn generate greater demand for resources, creating the risk of rebound effects. This would cancel out the environmental benefits achieved through higher efficiency (for example, energy-saving building renovations). Rebound effects were identified in many NFP 73 projects, and the government must be aware of them and seek to counteract them.</a:t>
            </a:r>
          </a:p>
        </p:txBody>
      </p:sp>
      <p:sp>
        <p:nvSpPr>
          <p:cNvPr id="4" name="Slide Number Placeholder 3">
            <a:extLst>
              <a:ext uri="{FF2B5EF4-FFF2-40B4-BE49-F238E27FC236}">
                <a16:creationId xmlns:a16="http://schemas.microsoft.com/office/drawing/2014/main" id="{3AA7B347-A7AE-F6D9-DE1A-B555C4F146B4}"/>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F67ED730-6193-5244-0CEA-FADF857B47DB}"/>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976388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8BE35-DA51-CDB1-D853-A3C8BC7D222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D03FD46-6652-BB95-DB86-8967ADA59604}"/>
              </a:ext>
            </a:extLst>
          </p:cNvPr>
          <p:cNvGraphicFramePr>
            <a:graphicFrameLocks noChangeAspect="1"/>
          </p:cNvGraphicFramePr>
          <p:nvPr>
            <p:custDataLst>
              <p:tags r:id="rId1"/>
            </p:custDataLst>
            <p:extLst>
              <p:ext uri="{D42A27DB-BD31-4B8C-83A1-F6EECF244321}">
                <p14:modId xmlns:p14="http://schemas.microsoft.com/office/powerpoint/2010/main" val="2631887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D03FD46-6652-BB95-DB86-8967ADA596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1C835C-77CE-4365-D4BF-239624111E63}"/>
              </a:ext>
            </a:extLst>
          </p:cNvPr>
          <p:cNvSpPr>
            <a:spLocks noGrp="1"/>
          </p:cNvSpPr>
          <p:nvPr>
            <p:ph type="title"/>
          </p:nvPr>
        </p:nvSpPr>
        <p:spPr/>
        <p:txBody>
          <a:bodyPr vert="horz"/>
          <a:lstStyle/>
          <a:p>
            <a:pPr>
              <a:spcAft>
                <a:spcPts val="600"/>
              </a:spcAft>
            </a:pPr>
            <a:r>
              <a:rPr lang="de-CH" dirty="0"/>
              <a:t>Policy </a:t>
            </a:r>
            <a:r>
              <a:rPr lang="de-CH" dirty="0" err="1"/>
              <a:t>recommendations</a:t>
            </a:r>
            <a:r>
              <a:rPr lang="de-CH" dirty="0"/>
              <a:t> II</a:t>
            </a:r>
            <a:br>
              <a:rPr lang="de-CH" dirty="0"/>
            </a:br>
            <a:br>
              <a:rPr lang="de-CH" sz="1500" dirty="0"/>
            </a:br>
            <a:endParaRPr lang="de-CH" sz="1600" dirty="0"/>
          </a:p>
        </p:txBody>
      </p:sp>
      <p:sp>
        <p:nvSpPr>
          <p:cNvPr id="3" name="Text Placeholder 2">
            <a:extLst>
              <a:ext uri="{FF2B5EF4-FFF2-40B4-BE49-F238E27FC236}">
                <a16:creationId xmlns:a16="http://schemas.microsoft.com/office/drawing/2014/main" id="{004B39AF-D022-02CD-F286-CC7967BA511F}"/>
              </a:ext>
            </a:extLst>
          </p:cNvPr>
          <p:cNvSpPr>
            <a:spLocks noGrp="1"/>
          </p:cNvSpPr>
          <p:nvPr>
            <p:ph type="body" sz="quarter" idx="13"/>
          </p:nvPr>
        </p:nvSpPr>
        <p:spPr/>
        <p:txBody>
          <a:bodyPr/>
          <a:lstStyle/>
          <a:p>
            <a:pPr marL="342900" indent="-342900">
              <a:buFont typeface="+mj-lt"/>
              <a:buAutoNum type="arabicPeriod" startAt="3"/>
            </a:pPr>
            <a:r>
              <a:rPr lang="en-US" b="1" dirty="0"/>
              <a:t>It must pay off to develop and use environmentally friendly technologies. Market prices are often too low and do not reflect ecological reality</a:t>
            </a:r>
            <a:r>
              <a:rPr lang="en-US" dirty="0"/>
              <a:t>: neither the benefits we derive from ecosystem services nor environmental damage are included in market prices. First of all, subsidies that create perverse incentives should be abolished. Then new taxes on resources or environmental impacts should be introduced, and the revenues should either be redistributed or used to reduce existing taxes.</a:t>
            </a:r>
          </a:p>
          <a:p>
            <a:pPr marL="342900" indent="-342900">
              <a:buFont typeface="+mj-lt"/>
              <a:buAutoNum type="arabicPeriod" startAt="3"/>
            </a:pPr>
            <a:endParaRPr lang="en-US" b="1" dirty="0"/>
          </a:p>
          <a:p>
            <a:pPr marL="342900" indent="-342900">
              <a:buFont typeface="+mj-lt"/>
              <a:buAutoNum type="arabicPeriod" startAt="3"/>
            </a:pPr>
            <a:r>
              <a:rPr lang="en-US" b="1" dirty="0"/>
              <a:t>Trade-offs should be made transparent, and integrated assessment approaches should be introduced </a:t>
            </a:r>
            <a:r>
              <a:rPr lang="en-US" dirty="0"/>
              <a:t>(for example, mixes of regulatory, social-policy, and tax measures) in order to deal with conflicts and compromises between social, environmental, and economic goals. The situation becomes even more complex when responsibilities are spread across different levels of government, which can lead to gaps and inconsistencies in regulations.</a:t>
            </a:r>
          </a:p>
        </p:txBody>
      </p:sp>
      <p:sp>
        <p:nvSpPr>
          <p:cNvPr id="4" name="Slide Number Placeholder 3">
            <a:extLst>
              <a:ext uri="{FF2B5EF4-FFF2-40B4-BE49-F238E27FC236}">
                <a16:creationId xmlns:a16="http://schemas.microsoft.com/office/drawing/2014/main" id="{EA57E430-FD42-7BA5-4516-21273A83679F}"/>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0744AECE-EF48-E2AA-1603-F7DDDE3B60C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4608907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FF6B5-F640-118D-5243-1EF0A4135BA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71D787F-4C65-E216-646B-6E57AFF598FF}"/>
              </a:ext>
            </a:extLst>
          </p:cNvPr>
          <p:cNvGraphicFramePr>
            <a:graphicFrameLocks noChangeAspect="1"/>
          </p:cNvGraphicFramePr>
          <p:nvPr>
            <p:custDataLst>
              <p:tags r:id="rId1"/>
            </p:custDataLst>
            <p:extLst>
              <p:ext uri="{D42A27DB-BD31-4B8C-83A1-F6EECF244321}">
                <p14:modId xmlns:p14="http://schemas.microsoft.com/office/powerpoint/2010/main" val="18105534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71D787F-4C65-E216-646B-6E57AFF598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FB65B8-575A-BB2D-FF71-B59BEF2F5CC6}"/>
              </a:ext>
            </a:extLst>
          </p:cNvPr>
          <p:cNvSpPr>
            <a:spLocks noGrp="1"/>
          </p:cNvSpPr>
          <p:nvPr>
            <p:ph type="title"/>
          </p:nvPr>
        </p:nvSpPr>
        <p:spPr/>
        <p:txBody>
          <a:bodyPr vert="horz"/>
          <a:lstStyle/>
          <a:p>
            <a:pPr>
              <a:spcAft>
                <a:spcPts val="600"/>
              </a:spcAft>
            </a:pPr>
            <a:r>
              <a:rPr lang="de-CH" dirty="0"/>
              <a:t>Policy </a:t>
            </a:r>
            <a:r>
              <a:rPr lang="de-CH" dirty="0" err="1"/>
              <a:t>recommendations</a:t>
            </a:r>
            <a:r>
              <a:rPr lang="de-CH" dirty="0"/>
              <a:t> III</a:t>
            </a:r>
            <a:br>
              <a:rPr lang="de-CH" dirty="0"/>
            </a:br>
            <a:br>
              <a:rPr lang="de-CH" sz="1500" dirty="0"/>
            </a:br>
            <a:endParaRPr lang="de-CH" sz="1600" dirty="0"/>
          </a:p>
        </p:txBody>
      </p:sp>
      <p:sp>
        <p:nvSpPr>
          <p:cNvPr id="3" name="Text Placeholder 2">
            <a:extLst>
              <a:ext uri="{FF2B5EF4-FFF2-40B4-BE49-F238E27FC236}">
                <a16:creationId xmlns:a16="http://schemas.microsoft.com/office/drawing/2014/main" id="{405ECC24-97B5-B894-392A-011F198802C4}"/>
              </a:ext>
            </a:extLst>
          </p:cNvPr>
          <p:cNvSpPr>
            <a:spLocks noGrp="1"/>
          </p:cNvSpPr>
          <p:nvPr>
            <p:ph type="body" sz="quarter" idx="13"/>
          </p:nvPr>
        </p:nvSpPr>
        <p:spPr/>
        <p:txBody>
          <a:bodyPr/>
          <a:lstStyle/>
          <a:p>
            <a:pPr marL="342900" indent="-342900">
              <a:buFont typeface="+mj-lt"/>
              <a:buAutoNum type="arabicPeriod" startAt="5"/>
            </a:pPr>
            <a:r>
              <a:rPr lang="en-US" b="1" dirty="0"/>
              <a:t>Political coordination is needed </a:t>
            </a:r>
            <a:r>
              <a:rPr lang="en-US" dirty="0"/>
              <a:t>across sectors such as housing, energy, waste and resources, land use and transport, or cultural heritage and historic preservation. To improve coordination, “roadmaps” that define intermediate targets and the involvement of all relevant stakeholders would be appropriate approaches. In any case, the consequences of failing to meet established goals must be clearly defined from the outset.</a:t>
            </a:r>
          </a:p>
          <a:p>
            <a:pPr marL="342900" indent="-342900">
              <a:buFont typeface="+mj-lt"/>
              <a:buAutoNum type="arabicPeriod" startAt="5"/>
            </a:pPr>
            <a:endParaRPr lang="en-US" dirty="0"/>
          </a:p>
          <a:p>
            <a:pPr marL="342900" indent="-342900">
              <a:buFont typeface="+mj-lt"/>
              <a:buAutoNum type="arabicPeriod" startAt="5"/>
            </a:pPr>
            <a:r>
              <a:rPr lang="en-US" b="1" dirty="0"/>
              <a:t>The government should lead by example, </a:t>
            </a:r>
            <a:r>
              <a:rPr lang="en-US" dirty="0"/>
              <a:t>as several NFP 73 projects show. Sustainable public procurement plays an important role in this regard. This requires setting targets, testing measurement methods, and continuously reviewing and improving standards. In addition, the government should strengthen the </a:t>
            </a:r>
            <a:r>
              <a:rPr lang="en-US" dirty="0" err="1"/>
              <a:t>labour</a:t>
            </a:r>
            <a:r>
              <a:rPr lang="en-US" dirty="0"/>
              <a:t> market to ensure that the development of required skills and the adaptation of academic and vocational education are supported.</a:t>
            </a:r>
          </a:p>
        </p:txBody>
      </p:sp>
      <p:sp>
        <p:nvSpPr>
          <p:cNvPr id="4" name="Slide Number Placeholder 3">
            <a:extLst>
              <a:ext uri="{FF2B5EF4-FFF2-40B4-BE49-F238E27FC236}">
                <a16:creationId xmlns:a16="http://schemas.microsoft.com/office/drawing/2014/main" id="{77BD7574-DA22-F347-6263-DA9E5B9D1F1F}"/>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F8766967-A856-BE13-04D9-28DCE2A4AF2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728995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932D8-ADE9-E58E-81CA-7BBA105E01A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757EA9F-E799-B90B-756E-49824A290A6D}"/>
              </a:ext>
            </a:extLst>
          </p:cNvPr>
          <p:cNvGraphicFramePr>
            <a:graphicFrameLocks noChangeAspect="1"/>
          </p:cNvGraphicFramePr>
          <p:nvPr>
            <p:custDataLst>
              <p:tags r:id="rId1"/>
            </p:custDataLst>
            <p:extLst>
              <p:ext uri="{D42A27DB-BD31-4B8C-83A1-F6EECF244321}">
                <p14:modId xmlns:p14="http://schemas.microsoft.com/office/powerpoint/2010/main" val="42561085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757EA9F-E799-B90B-756E-49824A290A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29AC44-EA5A-CD04-C656-E80E83DC8005}"/>
              </a:ext>
            </a:extLst>
          </p:cNvPr>
          <p:cNvSpPr>
            <a:spLocks noGrp="1"/>
          </p:cNvSpPr>
          <p:nvPr>
            <p:ph type="title"/>
          </p:nvPr>
        </p:nvSpPr>
        <p:spPr/>
        <p:txBody>
          <a:bodyPr vert="horz"/>
          <a:lstStyle/>
          <a:p>
            <a:pPr>
              <a:spcAft>
                <a:spcPts val="600"/>
              </a:spcAft>
            </a:pPr>
            <a:r>
              <a:rPr lang="de-CH" dirty="0"/>
              <a:t>Policy </a:t>
            </a:r>
            <a:r>
              <a:rPr lang="de-CH" dirty="0" err="1"/>
              <a:t>recommendations</a:t>
            </a:r>
            <a:r>
              <a:rPr lang="de-CH" dirty="0"/>
              <a:t> IV</a:t>
            </a:r>
            <a:br>
              <a:rPr lang="de-CH" dirty="0"/>
            </a:br>
            <a:br>
              <a:rPr lang="de-CH" sz="1500" dirty="0"/>
            </a:br>
            <a:endParaRPr lang="de-CH" sz="1600" dirty="0"/>
          </a:p>
        </p:txBody>
      </p:sp>
      <p:sp>
        <p:nvSpPr>
          <p:cNvPr id="3" name="Text Placeholder 2">
            <a:extLst>
              <a:ext uri="{FF2B5EF4-FFF2-40B4-BE49-F238E27FC236}">
                <a16:creationId xmlns:a16="http://schemas.microsoft.com/office/drawing/2014/main" id="{D0F19884-1A9D-215F-295E-883C7ED87E38}"/>
              </a:ext>
            </a:extLst>
          </p:cNvPr>
          <p:cNvSpPr>
            <a:spLocks noGrp="1"/>
          </p:cNvSpPr>
          <p:nvPr>
            <p:ph type="body" sz="quarter" idx="13"/>
          </p:nvPr>
        </p:nvSpPr>
        <p:spPr/>
        <p:txBody>
          <a:bodyPr/>
          <a:lstStyle/>
          <a:p>
            <a:pPr marL="342900" indent="-342900">
              <a:spcAft>
                <a:spcPts val="600"/>
              </a:spcAft>
              <a:buFont typeface="+mj-lt"/>
              <a:buAutoNum type="arabicPeriod" startAt="7"/>
            </a:pPr>
            <a:r>
              <a:rPr lang="en-US" b="1" dirty="0"/>
              <a:t>The government must set minimum standards </a:t>
            </a:r>
            <a:r>
              <a:rPr lang="en-US" dirty="0"/>
              <a:t>in order to stop the race toward ever lower environmental standards. As many research projects show, Switzerland lacks binding </a:t>
            </a:r>
            <a:r>
              <a:rPr lang="en-US" b="1" dirty="0"/>
              <a:t>definitions and regulations </a:t>
            </a:r>
            <a:r>
              <a:rPr lang="en-US" dirty="0"/>
              <a:t>for sustainable products and sustainable investments. Marketing and pressure for product differentiation have led to a proliferation of labels, which in turn has increased greenwashing. Other countries and institutions such as the EU have introduced their own labelling systems to reduce consumer confusion. Switzerland has done this on a private basis with organic food labels (Bio Suisse), but there is still no regulation for ICT and sustainable finance</a:t>
            </a:r>
            <a:endParaRPr lang="de-CH" dirty="0">
              <a:solidFill>
                <a:schemeClr val="bg1"/>
              </a:solidFill>
            </a:endParaRPr>
          </a:p>
        </p:txBody>
      </p:sp>
      <p:sp>
        <p:nvSpPr>
          <p:cNvPr id="4" name="Slide Number Placeholder 3">
            <a:extLst>
              <a:ext uri="{FF2B5EF4-FFF2-40B4-BE49-F238E27FC236}">
                <a16:creationId xmlns:a16="http://schemas.microsoft.com/office/drawing/2014/main" id="{B9884D07-1F34-F54E-C5FA-EF5F1AA74FA0}"/>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C27DB120-E349-5CA9-911F-1BCD3831D13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8379165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33F40-730D-DC6A-46EF-2C6A879E7CF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0C65B86-CE75-FAF8-7D2B-7F5798711D6E}"/>
              </a:ext>
            </a:extLst>
          </p:cNvPr>
          <p:cNvGraphicFramePr>
            <a:graphicFrameLocks noChangeAspect="1"/>
          </p:cNvGraphicFramePr>
          <p:nvPr>
            <p:custDataLst>
              <p:tags r:id="rId1"/>
            </p:custDataLst>
            <p:extLst>
              <p:ext uri="{D42A27DB-BD31-4B8C-83A1-F6EECF244321}">
                <p14:modId xmlns:p14="http://schemas.microsoft.com/office/powerpoint/2010/main" val="3850836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0C65B86-CE75-FAF8-7D2B-7F5798711D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DF8C4B-BC20-5363-5834-F26C910C700F}"/>
              </a:ext>
            </a:extLst>
          </p:cNvPr>
          <p:cNvSpPr>
            <a:spLocks noGrp="1"/>
          </p:cNvSpPr>
          <p:nvPr>
            <p:ph type="title"/>
          </p:nvPr>
        </p:nvSpPr>
        <p:spPr/>
        <p:txBody>
          <a:bodyPr vert="horz"/>
          <a:lstStyle/>
          <a:p>
            <a:pPr>
              <a:spcAft>
                <a:spcPts val="600"/>
              </a:spcAft>
            </a:pPr>
            <a:r>
              <a:rPr lang="de-CH" dirty="0"/>
              <a:t>Policy </a:t>
            </a:r>
            <a:r>
              <a:rPr lang="de-CH" dirty="0" err="1"/>
              <a:t>recommendations</a:t>
            </a:r>
            <a:r>
              <a:rPr lang="de-CH" dirty="0"/>
              <a:t> V</a:t>
            </a:r>
            <a:br>
              <a:rPr lang="de-CH" dirty="0"/>
            </a:br>
            <a:br>
              <a:rPr lang="de-CH" sz="1500" dirty="0"/>
            </a:br>
            <a:endParaRPr lang="de-CH" sz="1600" dirty="0"/>
          </a:p>
        </p:txBody>
      </p:sp>
      <p:sp>
        <p:nvSpPr>
          <p:cNvPr id="3" name="Text Placeholder 2">
            <a:extLst>
              <a:ext uri="{FF2B5EF4-FFF2-40B4-BE49-F238E27FC236}">
                <a16:creationId xmlns:a16="http://schemas.microsoft.com/office/drawing/2014/main" id="{A5DD6D17-7C31-4535-492B-916725F8E064}"/>
              </a:ext>
            </a:extLst>
          </p:cNvPr>
          <p:cNvSpPr>
            <a:spLocks noGrp="1"/>
          </p:cNvSpPr>
          <p:nvPr>
            <p:ph type="body" sz="quarter" idx="13"/>
          </p:nvPr>
        </p:nvSpPr>
        <p:spPr/>
        <p:txBody>
          <a:bodyPr/>
          <a:lstStyle/>
          <a:p>
            <a:pPr marL="0" indent="0">
              <a:buNone/>
              <a:defRPr/>
            </a:pPr>
            <a:r>
              <a:rPr kumimoji="0" lang="de-CH" b="1" i="0" u="none" strike="noStrike" kern="1200" cap="none" spc="0" normalizeH="0" baseline="0" noProof="0" dirty="0">
                <a:ln>
                  <a:noFill/>
                </a:ln>
                <a:solidFill>
                  <a:schemeClr val="bg1"/>
                </a:solidFill>
                <a:effectLst/>
                <a:uLnTx/>
                <a:uFillTx/>
                <a:latin typeface="Arial" panose="020B0604020202020204"/>
                <a:ea typeface="+mn-ea"/>
                <a:cs typeface="+mn-cs"/>
              </a:rPr>
              <a:t>8. </a:t>
            </a:r>
            <a:r>
              <a:rPr lang="en-US" b="1" dirty="0"/>
              <a:t>“Hybrid governance” approaches should be used for sustainable transformation, </a:t>
            </a:r>
            <a:r>
              <a:rPr lang="en-US" dirty="0"/>
              <a:t>as they go beyond the remit of legislative bodies. Several research projects recommend introducing multi-track strategies for a sustainable economy that make it possible to consider environmental impacts along entire supply chains. Voluntary measures by companies will not be sufficient and must be supported by binding ones. This is particularly important for global supply chains—for example through binding national measures combined with voluntary cooperative commitments (such as trade agreements), voluntary private action plans, and voluntary agreements that should be backed by legal sanctions in cases of non-compliance.</a:t>
            </a:r>
            <a:endParaRPr lang="de-CH" dirty="0">
              <a:solidFill>
                <a:schemeClr val="bg1"/>
              </a:solidFill>
            </a:endParaRPr>
          </a:p>
        </p:txBody>
      </p:sp>
      <p:sp>
        <p:nvSpPr>
          <p:cNvPr id="4" name="Slide Number Placeholder 3">
            <a:extLst>
              <a:ext uri="{FF2B5EF4-FFF2-40B4-BE49-F238E27FC236}">
                <a16:creationId xmlns:a16="http://schemas.microsoft.com/office/drawing/2014/main" id="{FC8C2427-0E5A-D7C8-0700-15DF93B27C47}"/>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A3C0BB3A-6738-46C9-24C1-3A8619F3ED4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2776397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561D8-F102-3D80-10FD-A6E7626C51CC}"/>
              </a:ext>
            </a:extLst>
          </p:cNvPr>
          <p:cNvSpPr>
            <a:spLocks noGrp="1"/>
          </p:cNvSpPr>
          <p:nvPr>
            <p:ph type="title"/>
          </p:nvPr>
        </p:nvSpPr>
        <p:spPr>
          <a:xfrm>
            <a:off x="479425" y="476250"/>
            <a:ext cx="11233150" cy="1044575"/>
          </a:xfrm>
        </p:spPr>
        <p:txBody>
          <a:bodyPr anchor="t">
            <a:normAutofit/>
          </a:bodyPr>
          <a:lstStyle/>
          <a:p>
            <a:r>
              <a:rPr lang="de-CH" dirty="0" err="1"/>
              <a:t>Specific</a:t>
            </a:r>
            <a:r>
              <a:rPr lang="de-CH" dirty="0"/>
              <a:t> </a:t>
            </a:r>
            <a:r>
              <a:rPr lang="de-CH" dirty="0" err="1"/>
              <a:t>policy</a:t>
            </a:r>
            <a:r>
              <a:rPr lang="de-CH" dirty="0"/>
              <a:t> </a:t>
            </a:r>
            <a:r>
              <a:rPr lang="de-CH" dirty="0" err="1"/>
              <a:t>recommendations</a:t>
            </a:r>
            <a:endParaRPr lang="de-CH" dirty="0"/>
          </a:p>
        </p:txBody>
      </p:sp>
      <p:sp>
        <p:nvSpPr>
          <p:cNvPr id="3" name="Text Placeholder 2">
            <a:extLst>
              <a:ext uri="{FF2B5EF4-FFF2-40B4-BE49-F238E27FC236}">
                <a16:creationId xmlns:a16="http://schemas.microsoft.com/office/drawing/2014/main" id="{6B230C2D-58C5-CA90-2FBD-7DC4820B6CDB}"/>
              </a:ext>
            </a:extLst>
          </p:cNvPr>
          <p:cNvSpPr>
            <a:spLocks noGrp="1"/>
          </p:cNvSpPr>
          <p:nvPr>
            <p:ph type="body" sz="quarter" idx="13"/>
          </p:nvPr>
        </p:nvSpPr>
        <p:spPr>
          <a:xfrm>
            <a:off x="479425" y="1808163"/>
            <a:ext cx="5400675" cy="4213225"/>
          </a:xfrm>
        </p:spPr>
        <p:txBody>
          <a:bodyPr>
            <a:normAutofit/>
          </a:bodyPr>
          <a:lstStyle/>
          <a:p>
            <a:pPr marL="0" indent="0">
              <a:buNone/>
            </a:pPr>
            <a:r>
              <a:rPr lang="en-US" dirty="0"/>
              <a:t>Specific policy recommendations were formulated for five focus areas:</a:t>
            </a:r>
          </a:p>
          <a:p>
            <a:r>
              <a:rPr lang="en-US" dirty="0"/>
              <a:t>Agriculture and nutrition</a:t>
            </a:r>
          </a:p>
          <a:p>
            <a:r>
              <a:rPr lang="en-US" dirty="0"/>
              <a:t>Circular economy</a:t>
            </a:r>
          </a:p>
          <a:p>
            <a:r>
              <a:rPr lang="en-US" dirty="0"/>
              <a:t>Housing and construction</a:t>
            </a:r>
          </a:p>
          <a:p>
            <a:r>
              <a:rPr lang="en-US" dirty="0" err="1"/>
              <a:t>Behaviour</a:t>
            </a:r>
            <a:r>
              <a:rPr lang="en-US" dirty="0"/>
              <a:t> and consumption</a:t>
            </a:r>
          </a:p>
          <a:p>
            <a:r>
              <a:rPr lang="en-US" dirty="0"/>
              <a:t>Ecosystem services of forests</a:t>
            </a:r>
          </a:p>
          <a:p>
            <a:pPr>
              <a:spcAft>
                <a:spcPts val="600"/>
              </a:spcAft>
            </a:pPr>
            <a:endParaRPr lang="de-CH" dirty="0"/>
          </a:p>
          <a:p>
            <a:pPr>
              <a:spcAft>
                <a:spcPts val="600"/>
              </a:spcAft>
            </a:pPr>
            <a:endParaRPr lang="de-CH" dirty="0"/>
          </a:p>
        </p:txBody>
      </p:sp>
      <p:sp>
        <p:nvSpPr>
          <p:cNvPr id="4" name="Slide Number Placeholder 3">
            <a:extLst>
              <a:ext uri="{FF2B5EF4-FFF2-40B4-BE49-F238E27FC236}">
                <a16:creationId xmlns:a16="http://schemas.microsoft.com/office/drawing/2014/main" id="{67DD76B0-EF50-AE77-6E3B-D3CD5A2EE652}"/>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15</a:t>
            </a:fld>
            <a:endParaRPr lang="de-CH"/>
          </a:p>
        </p:txBody>
      </p:sp>
      <p:sp>
        <p:nvSpPr>
          <p:cNvPr id="5" name="Footer Placeholder 4">
            <a:extLst>
              <a:ext uri="{FF2B5EF4-FFF2-40B4-BE49-F238E27FC236}">
                <a16:creationId xmlns:a16="http://schemas.microsoft.com/office/drawing/2014/main" id="{30CA17EC-7BE9-2C3B-CE0E-E6E892C51505}"/>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7" name="Picture 6" descr="A colorful circle with four different colored parts&#10;&#10;AI-generated content may be incorrect.">
            <a:extLst>
              <a:ext uri="{FF2B5EF4-FFF2-40B4-BE49-F238E27FC236}">
                <a16:creationId xmlns:a16="http://schemas.microsoft.com/office/drawing/2014/main" id="{A97007B3-6E11-61FA-22AD-EDE12A611A6D}"/>
              </a:ext>
            </a:extLst>
          </p:cNvPr>
          <p:cNvPicPr>
            <a:picLocks noChangeAspect="1"/>
          </p:cNvPicPr>
          <p:nvPr/>
        </p:nvPicPr>
        <p:blipFill>
          <a:blip r:embed="rId2">
            <a:extLst>
              <a:ext uri="{28A0092B-C50C-407E-A947-70E740481C1C}">
                <a14:useLocalDpi xmlns:a14="http://schemas.microsoft.com/office/drawing/2010/main" val="0"/>
              </a:ext>
            </a:extLst>
          </a:blip>
          <a:srcRect l="5793" r="5582" b="-3"/>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20428025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09605-97C9-59BF-94FF-C9CD92C3BC66}"/>
              </a:ext>
            </a:extLst>
          </p:cNvPr>
          <p:cNvSpPr>
            <a:spLocks noGrp="1"/>
          </p:cNvSpPr>
          <p:nvPr>
            <p:ph type="title"/>
          </p:nvPr>
        </p:nvSpPr>
        <p:spPr>
          <a:xfrm>
            <a:off x="479425" y="476250"/>
            <a:ext cx="11233150" cy="1044575"/>
          </a:xfrm>
        </p:spPr>
        <p:txBody>
          <a:bodyPr anchor="t">
            <a:normAutofit/>
          </a:bodyPr>
          <a:lstStyle/>
          <a:p>
            <a:r>
              <a:rPr lang="de-CH" dirty="0" err="1"/>
              <a:t>Agriculture</a:t>
            </a:r>
            <a:r>
              <a:rPr lang="de-CH" dirty="0"/>
              <a:t> and Nutrition</a:t>
            </a:r>
          </a:p>
        </p:txBody>
      </p:sp>
      <p:sp>
        <p:nvSpPr>
          <p:cNvPr id="3" name="Text Placeholder 2">
            <a:extLst>
              <a:ext uri="{FF2B5EF4-FFF2-40B4-BE49-F238E27FC236}">
                <a16:creationId xmlns:a16="http://schemas.microsoft.com/office/drawing/2014/main" id="{13BAAF3E-C0D8-B163-D7AD-DA776D15553E}"/>
              </a:ext>
            </a:extLst>
          </p:cNvPr>
          <p:cNvSpPr>
            <a:spLocks noGrp="1"/>
          </p:cNvSpPr>
          <p:nvPr>
            <p:ph type="body" sz="quarter" idx="13"/>
          </p:nvPr>
        </p:nvSpPr>
        <p:spPr>
          <a:xfrm>
            <a:off x="479425" y="1942284"/>
            <a:ext cx="5712369" cy="4079104"/>
          </a:xfrm>
        </p:spPr>
        <p:txBody>
          <a:bodyPr>
            <a:normAutofit/>
          </a:bodyPr>
          <a:lstStyle/>
          <a:p>
            <a:pPr marL="0" indent="0">
              <a:buNone/>
            </a:pPr>
            <a:r>
              <a:rPr lang="en-US" dirty="0"/>
              <a:t>Agriculture and food systems are responsible for a significant share of humanity’s ecological footprint, and efforts to reduce their impacts are essential for achieving sustainable development. The value chain in the food system includes agricultural production—including agricultural service and product suppliers—followed by processing, distribution, retail (including restaurants and other food services), consumption, and disposal.</a:t>
            </a:r>
          </a:p>
          <a:p>
            <a:pPr marL="0" indent="0">
              <a:spcAft>
                <a:spcPts val="600"/>
              </a:spcAft>
              <a:buNone/>
            </a:pPr>
            <a:r>
              <a:rPr lang="de-CH" sz="1700" dirty="0">
                <a:hlinkClick r:id="rId2"/>
              </a:rPr>
              <a:t>NFP 73, </a:t>
            </a:r>
            <a:r>
              <a:rPr lang="de-CH" dirty="0" err="1">
                <a:hlinkClick r:id="rId2"/>
              </a:rPr>
              <a:t>Agriculture</a:t>
            </a:r>
            <a:r>
              <a:rPr lang="de-CH" dirty="0">
                <a:hlinkClick r:id="rId2"/>
              </a:rPr>
              <a:t> and Nutrition</a:t>
            </a:r>
            <a:endParaRPr lang="de-CH" dirty="0"/>
          </a:p>
          <a:p>
            <a:pPr marL="0" indent="0">
              <a:spcAft>
                <a:spcPts val="600"/>
              </a:spcAft>
              <a:buNone/>
            </a:pPr>
            <a:endParaRPr lang="en-GB" dirty="0"/>
          </a:p>
        </p:txBody>
      </p:sp>
      <p:sp>
        <p:nvSpPr>
          <p:cNvPr id="4" name="Slide Number Placeholder 3">
            <a:extLst>
              <a:ext uri="{FF2B5EF4-FFF2-40B4-BE49-F238E27FC236}">
                <a16:creationId xmlns:a16="http://schemas.microsoft.com/office/drawing/2014/main" id="{3EAA9BF2-3067-5697-92A9-2CFFC9E48021}"/>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16</a:t>
            </a:fld>
            <a:endParaRPr lang="de-CH"/>
          </a:p>
        </p:txBody>
      </p:sp>
      <p:sp>
        <p:nvSpPr>
          <p:cNvPr id="5" name="Footer Placeholder 4">
            <a:extLst>
              <a:ext uri="{FF2B5EF4-FFF2-40B4-BE49-F238E27FC236}">
                <a16:creationId xmlns:a16="http://schemas.microsoft.com/office/drawing/2014/main" id="{9C60215D-2261-0F2C-F0E2-7A7EA75C46A9}"/>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6" name="object 6">
            <a:extLst>
              <a:ext uri="{FF2B5EF4-FFF2-40B4-BE49-F238E27FC236}">
                <a16:creationId xmlns:a16="http://schemas.microsoft.com/office/drawing/2014/main" id="{D29C9479-BE60-16B9-D138-A0848F7B5AA5}"/>
              </a:ext>
            </a:extLst>
          </p:cNvPr>
          <p:cNvPicPr/>
          <p:nvPr/>
        </p:nvPicPr>
        <p:blipFill>
          <a:blip r:embed="rId3" cstate="print"/>
          <a:srcRect l="18637" t="14368" r="16177" b="10871"/>
          <a:stretch>
            <a:fillRect/>
          </a:stretch>
        </p:blipFill>
        <p:spPr>
          <a:xfrm>
            <a:off x="6191794" y="1808162"/>
            <a:ext cx="5520781" cy="4213225"/>
          </a:xfrm>
          <a:prstGeom prst="rect">
            <a:avLst/>
          </a:prstGeom>
        </p:spPr>
      </p:pic>
    </p:spTree>
    <p:extLst>
      <p:ext uri="{BB962C8B-B14F-4D97-AF65-F5344CB8AC3E}">
        <p14:creationId xmlns:p14="http://schemas.microsoft.com/office/powerpoint/2010/main" val="4729577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DDD9728-48D3-C553-3165-B77FE7D6BD08}"/>
              </a:ext>
            </a:extLst>
          </p:cNvPr>
          <p:cNvGraphicFramePr>
            <a:graphicFrameLocks noChangeAspect="1"/>
          </p:cNvGraphicFramePr>
          <p:nvPr>
            <p:custDataLst>
              <p:tags r:id="rId1"/>
            </p:custDataLst>
            <p:extLst>
              <p:ext uri="{D42A27DB-BD31-4B8C-83A1-F6EECF244321}">
                <p14:modId xmlns:p14="http://schemas.microsoft.com/office/powerpoint/2010/main" val="3165346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DDD9728-48D3-C553-3165-B77FE7D6BD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564D24-46D7-ADF9-DB90-D20C8BA474D7}"/>
              </a:ext>
            </a:extLst>
          </p:cNvPr>
          <p:cNvSpPr>
            <a:spLocks noGrp="1"/>
          </p:cNvSpPr>
          <p:nvPr>
            <p:ph type="title"/>
          </p:nvPr>
        </p:nvSpPr>
        <p:spPr/>
        <p:txBody>
          <a:bodyPr vert="horz"/>
          <a:lstStyle/>
          <a:p>
            <a:r>
              <a:rPr lang="de-CH" dirty="0" err="1"/>
              <a:t>Agriculture</a:t>
            </a:r>
            <a:r>
              <a:rPr lang="de-CH" dirty="0"/>
              <a:t> and Nutrition – </a:t>
            </a:r>
            <a:r>
              <a:rPr lang="de-CH" dirty="0" err="1"/>
              <a:t>Assignment</a:t>
            </a:r>
            <a:endParaRPr lang="de-CH" dirty="0"/>
          </a:p>
        </p:txBody>
      </p:sp>
      <p:sp>
        <p:nvSpPr>
          <p:cNvPr id="3" name="Slide Number Placeholder 2">
            <a:extLst>
              <a:ext uri="{FF2B5EF4-FFF2-40B4-BE49-F238E27FC236}">
                <a16:creationId xmlns:a16="http://schemas.microsoft.com/office/drawing/2014/main" id="{87C22BC6-FE97-4FB2-C314-B163391E44AC}"/>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5" name="Text Placeholder 4">
            <a:extLst>
              <a:ext uri="{FF2B5EF4-FFF2-40B4-BE49-F238E27FC236}">
                <a16:creationId xmlns:a16="http://schemas.microsoft.com/office/drawing/2014/main" id="{386AC550-BB9E-684F-74E6-4628BCBDEE98}"/>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04BFBDAE-CF8D-D241-52D1-8BAF12233F60}"/>
              </a:ext>
            </a:extLst>
          </p:cNvPr>
          <p:cNvSpPr>
            <a:spLocks noGrp="1"/>
          </p:cNvSpPr>
          <p:nvPr>
            <p:ph type="body" sz="quarter" idx="13"/>
          </p:nvPr>
        </p:nvSpPr>
        <p:spPr>
          <a:xfrm>
            <a:off x="479426" y="2565400"/>
            <a:ext cx="3743253" cy="3455988"/>
          </a:xfrm>
        </p:spPr>
        <p:txBody>
          <a:bodyPr/>
          <a:lstStyle/>
          <a:p>
            <a:pPr marL="0" indent="0">
              <a:buNone/>
            </a:pPr>
            <a:r>
              <a:rPr lang="en-US" dirty="0"/>
              <a:t>Which specific recommendations would you derive from the research findings (see the learning module “Agriculture and Nutrition”), and to whom would you address these recommendations?</a:t>
            </a:r>
          </a:p>
          <a:p>
            <a:pPr marL="0" indent="0">
              <a:buNone/>
            </a:pPr>
            <a:endParaRPr lang="en-US" dirty="0"/>
          </a:p>
          <a:p>
            <a:pPr marL="0" indent="0">
              <a:buNone/>
            </a:pPr>
            <a:r>
              <a:rPr lang="en-US" dirty="0"/>
              <a:t>Then compare your recommendations with those of the researchers.</a:t>
            </a:r>
          </a:p>
          <a:p>
            <a:endParaRPr lang="de-CH" dirty="0"/>
          </a:p>
        </p:txBody>
      </p:sp>
      <p:sp>
        <p:nvSpPr>
          <p:cNvPr id="7" name="Text Placeholder 6">
            <a:extLst>
              <a:ext uri="{FF2B5EF4-FFF2-40B4-BE49-F238E27FC236}">
                <a16:creationId xmlns:a16="http://schemas.microsoft.com/office/drawing/2014/main" id="{9B80623C-F537-6A35-93A4-3C01A11F1DA9}"/>
              </a:ext>
            </a:extLst>
          </p:cNvPr>
          <p:cNvSpPr>
            <a:spLocks noGrp="1"/>
          </p:cNvSpPr>
          <p:nvPr>
            <p:ph type="body" sz="quarter" idx="12"/>
          </p:nvPr>
        </p:nvSpPr>
        <p:spPr>
          <a:xfrm>
            <a:off x="479424" y="1808163"/>
            <a:ext cx="4628915" cy="587375"/>
          </a:xfrm>
        </p:spPr>
        <p:txBody>
          <a:bodyPr/>
          <a:lstStyle/>
          <a:p>
            <a:r>
              <a:rPr lang="de-CH" dirty="0" err="1"/>
              <a:t>Assignment</a:t>
            </a:r>
            <a:endParaRPr lang="de-CH" dirty="0"/>
          </a:p>
        </p:txBody>
      </p:sp>
      <p:sp>
        <p:nvSpPr>
          <p:cNvPr id="8" name="Footer Placeholder 7">
            <a:extLst>
              <a:ext uri="{FF2B5EF4-FFF2-40B4-BE49-F238E27FC236}">
                <a16:creationId xmlns:a16="http://schemas.microsoft.com/office/drawing/2014/main" id="{9028D3E6-E9C7-068F-15B6-7EDFC7CDD028}"/>
              </a:ext>
            </a:extLst>
          </p:cNvPr>
          <p:cNvSpPr>
            <a:spLocks noGrp="1"/>
          </p:cNvSpPr>
          <p:nvPr>
            <p:ph type="ftr" sz="quarter" idx="16"/>
          </p:nvPr>
        </p:nvSpPr>
        <p:spPr/>
        <p:txBody>
          <a:bodyPr/>
          <a:lstStyle/>
          <a:p>
            <a:r>
              <a:rPr lang="de-CH" dirty="0"/>
              <a:t>NFP 73 – </a:t>
            </a:r>
            <a:r>
              <a:rPr lang="de-CH" dirty="0" err="1"/>
              <a:t>Sustainable</a:t>
            </a:r>
            <a:r>
              <a:rPr lang="de-CH" dirty="0"/>
              <a:t> Economy</a:t>
            </a:r>
          </a:p>
        </p:txBody>
      </p:sp>
      <p:pic>
        <p:nvPicPr>
          <p:cNvPr id="17" name="Picture Placeholder 16" descr="A person holding a box of vegetables&#10;&#10;AI-generated content may be incorrect.">
            <a:extLst>
              <a:ext uri="{FF2B5EF4-FFF2-40B4-BE49-F238E27FC236}">
                <a16:creationId xmlns:a16="http://schemas.microsoft.com/office/drawing/2014/main" id="{EB7A9B28-AF3C-5BD4-7B6F-8F756DC9357A}"/>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9530" b="9530"/>
          <a:stretch>
            <a:fillRect/>
          </a:stretch>
        </p:blipFill>
        <p:spPr/>
      </p:pic>
    </p:spTree>
    <p:extLst>
      <p:ext uri="{BB962C8B-B14F-4D97-AF65-F5344CB8AC3E}">
        <p14:creationId xmlns:p14="http://schemas.microsoft.com/office/powerpoint/2010/main" val="884359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9278E-EE34-B38E-CFF0-195D0F2B748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15B9DEC-52F3-5D2B-E639-B6B057EB9877}"/>
              </a:ext>
            </a:extLst>
          </p:cNvPr>
          <p:cNvGraphicFramePr>
            <a:graphicFrameLocks noChangeAspect="1"/>
          </p:cNvGraphicFramePr>
          <p:nvPr>
            <p:custDataLst>
              <p:tags r:id="rId1"/>
            </p:custDataLst>
            <p:extLst>
              <p:ext uri="{D42A27DB-BD31-4B8C-83A1-F6EECF244321}">
                <p14:modId xmlns:p14="http://schemas.microsoft.com/office/powerpoint/2010/main" val="7181213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815B9DEC-52F3-5D2B-E639-B6B057EB987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1CBC-1E11-F4AE-D932-4FEA14B2D6F3}"/>
              </a:ext>
            </a:extLst>
          </p:cNvPr>
          <p:cNvSpPr>
            <a:spLocks noGrp="1"/>
          </p:cNvSpPr>
          <p:nvPr>
            <p:ph type="title"/>
          </p:nvPr>
        </p:nvSpPr>
        <p:spPr/>
        <p:txBody>
          <a:bodyPr vert="horz"/>
          <a:lstStyle/>
          <a:p>
            <a:r>
              <a:rPr lang="de-CH" dirty="0" err="1"/>
              <a:t>Agriculture</a:t>
            </a:r>
            <a:r>
              <a:rPr lang="de-CH" dirty="0"/>
              <a:t> and Nutrition – </a:t>
            </a:r>
            <a:r>
              <a:rPr lang="de-CH" dirty="0" err="1"/>
              <a:t>Recommendations</a:t>
            </a:r>
            <a:r>
              <a:rPr lang="de-CH" dirty="0"/>
              <a:t> I</a:t>
            </a:r>
          </a:p>
        </p:txBody>
      </p:sp>
      <p:sp>
        <p:nvSpPr>
          <p:cNvPr id="3" name="Text Placeholder 2">
            <a:extLst>
              <a:ext uri="{FF2B5EF4-FFF2-40B4-BE49-F238E27FC236}">
                <a16:creationId xmlns:a16="http://schemas.microsoft.com/office/drawing/2014/main" id="{56C8B0EB-B6C6-C4AB-3F68-22F657547C12}"/>
              </a:ext>
            </a:extLst>
          </p:cNvPr>
          <p:cNvSpPr>
            <a:spLocks noGrp="1"/>
          </p:cNvSpPr>
          <p:nvPr>
            <p:ph type="body" sz="quarter" idx="13"/>
          </p:nvPr>
        </p:nvSpPr>
        <p:spPr/>
        <p:txBody>
          <a:bodyPr/>
          <a:lstStyle/>
          <a:p>
            <a:pPr marL="342900" indent="-342900">
              <a:buFont typeface="+mj-lt"/>
              <a:buAutoNum type="arabicPeriod"/>
            </a:pPr>
            <a:r>
              <a:rPr lang="en-US" dirty="0"/>
              <a:t>Adoption of the European definition of food waste and its measurement methodology into Swiss law, as this would provide legal certainty and a legal basis for measures and obligations.</a:t>
            </a:r>
          </a:p>
          <a:p>
            <a:pPr marL="342900" indent="-342900">
              <a:buFont typeface="+mj-lt"/>
              <a:buAutoNum type="arabicPeriod"/>
            </a:pPr>
            <a:r>
              <a:rPr lang="en-US" dirty="0"/>
              <a:t>Relaxation of aesthetic marketing standards for fruits and vegetables (mostly private standards).</a:t>
            </a:r>
          </a:p>
          <a:p>
            <a:pPr marL="342900" indent="-342900">
              <a:buFont typeface="+mj-lt"/>
              <a:buAutoNum type="arabicPeriod"/>
            </a:pPr>
            <a:r>
              <a:rPr lang="en-US" dirty="0"/>
              <a:t>Clarification of the definition of the “best before” date and permission to sell products past this date, provided safe consumption is ensured and consumers are informed about the expiry. </a:t>
            </a:r>
          </a:p>
          <a:p>
            <a:pPr marL="342900" indent="-342900">
              <a:buFont typeface="+mj-lt"/>
              <a:buAutoNum type="arabicPeriod"/>
            </a:pPr>
            <a:r>
              <a:rPr lang="en-US" dirty="0"/>
              <a:t>Introduction of binding reduction targets if voluntary measures are insufficient, for each branch of the food industry—for example, criteria for reducing food waste in canteens.</a:t>
            </a:r>
          </a:p>
          <a:p>
            <a:pPr marL="342900" indent="-342900">
              <a:buFont typeface="+mj-lt"/>
              <a:buAutoNum type="arabicPeriod"/>
            </a:pPr>
            <a:r>
              <a:rPr lang="en-US" dirty="0"/>
              <a:t>Introduction of a law on food donations into Swiss food legislation (Art. 7 para. 4 LMG). Supermarkets would be required to conclude contracts with food banks or other charitable </a:t>
            </a:r>
            <a:r>
              <a:rPr lang="en-US" dirty="0" err="1"/>
              <a:t>organisations</a:t>
            </a:r>
            <a:r>
              <a:rPr lang="en-US" dirty="0"/>
              <a:t>. Shops could be </a:t>
            </a:r>
            <a:r>
              <a:rPr lang="en-US" dirty="0" err="1"/>
              <a:t>penalised</a:t>
            </a:r>
            <a:r>
              <a:rPr lang="en-US" dirty="0"/>
              <a:t> for violations of the law.</a:t>
            </a:r>
          </a:p>
          <a:p>
            <a:pPr marL="342900" indent="-342900">
              <a:buFont typeface="+mj-lt"/>
              <a:buAutoNum type="arabicPeriod"/>
            </a:pPr>
            <a:r>
              <a:rPr lang="en-US" dirty="0"/>
              <a:t>Tax relief to simplify distribution.</a:t>
            </a:r>
            <a:endParaRPr lang="de-CH" dirty="0"/>
          </a:p>
        </p:txBody>
      </p:sp>
      <p:sp>
        <p:nvSpPr>
          <p:cNvPr id="4" name="Slide Number Placeholder 3">
            <a:extLst>
              <a:ext uri="{FF2B5EF4-FFF2-40B4-BE49-F238E27FC236}">
                <a16:creationId xmlns:a16="http://schemas.microsoft.com/office/drawing/2014/main" id="{72BA4325-C0D2-BF74-70A7-B13AEF5C3762}"/>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22F67EB8-9C73-FADB-FF57-1A68C7F950C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8589939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727A00B-52EB-94CA-D168-ACC27F7B5397}"/>
              </a:ext>
            </a:extLst>
          </p:cNvPr>
          <p:cNvGraphicFramePr>
            <a:graphicFrameLocks noChangeAspect="1"/>
          </p:cNvGraphicFramePr>
          <p:nvPr>
            <p:custDataLst>
              <p:tags r:id="rId1"/>
            </p:custDataLst>
            <p:extLst>
              <p:ext uri="{D42A27DB-BD31-4B8C-83A1-F6EECF244321}">
                <p14:modId xmlns:p14="http://schemas.microsoft.com/office/powerpoint/2010/main" val="12530158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727A00B-52EB-94CA-D168-ACC27F7B539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E1A202-E23F-6BA2-4BF8-021CF8DAC51D}"/>
              </a:ext>
            </a:extLst>
          </p:cNvPr>
          <p:cNvSpPr>
            <a:spLocks noGrp="1"/>
          </p:cNvSpPr>
          <p:nvPr>
            <p:ph type="title"/>
          </p:nvPr>
        </p:nvSpPr>
        <p:spPr/>
        <p:txBody>
          <a:bodyPr vert="horz"/>
          <a:lstStyle/>
          <a:p>
            <a:r>
              <a:rPr lang="de-CH" dirty="0" err="1"/>
              <a:t>Agriculture</a:t>
            </a:r>
            <a:r>
              <a:rPr lang="de-CH" dirty="0"/>
              <a:t> and Nutrition – </a:t>
            </a:r>
            <a:r>
              <a:rPr lang="de-CH" dirty="0" err="1"/>
              <a:t>Recommendations</a:t>
            </a:r>
            <a:r>
              <a:rPr lang="de-CH" dirty="0"/>
              <a:t> II</a:t>
            </a:r>
          </a:p>
        </p:txBody>
      </p:sp>
      <p:sp>
        <p:nvSpPr>
          <p:cNvPr id="3" name="Text Placeholder 2">
            <a:extLst>
              <a:ext uri="{FF2B5EF4-FFF2-40B4-BE49-F238E27FC236}">
                <a16:creationId xmlns:a16="http://schemas.microsoft.com/office/drawing/2014/main" id="{A9CE391A-1D50-157E-D0B9-B755A5941CD3}"/>
              </a:ext>
            </a:extLst>
          </p:cNvPr>
          <p:cNvSpPr>
            <a:spLocks noGrp="1"/>
          </p:cNvSpPr>
          <p:nvPr>
            <p:ph type="body" sz="quarter" idx="13"/>
          </p:nvPr>
        </p:nvSpPr>
        <p:spPr/>
        <p:txBody>
          <a:bodyPr/>
          <a:lstStyle/>
          <a:p>
            <a:pPr marL="342900" indent="-342900">
              <a:spcAft>
                <a:spcPts val="600"/>
              </a:spcAft>
              <a:buFont typeface="+mj-lt"/>
              <a:buAutoNum type="arabicPeriod" startAt="7"/>
            </a:pPr>
            <a:r>
              <a:rPr lang="en-US" dirty="0">
                <a:solidFill>
                  <a:schemeClr val="bg1"/>
                </a:solidFill>
              </a:rPr>
              <a:t>No or reduced VAT on donated food.</a:t>
            </a:r>
          </a:p>
          <a:p>
            <a:pPr marL="342900" indent="-342900">
              <a:spcAft>
                <a:spcPts val="600"/>
              </a:spcAft>
              <a:buFont typeface="+mj-lt"/>
              <a:buAutoNum type="arabicPeriod" startAt="7"/>
            </a:pPr>
            <a:r>
              <a:rPr lang="en-US" dirty="0">
                <a:solidFill>
                  <a:schemeClr val="bg1"/>
                </a:solidFill>
              </a:rPr>
              <a:t>Introduction of a meal-ordering system in hospitals that (</a:t>
            </a:r>
            <a:r>
              <a:rPr lang="en-US" dirty="0" err="1">
                <a:solidFill>
                  <a:schemeClr val="bg1"/>
                </a:solidFill>
              </a:rPr>
              <a:t>i</a:t>
            </a:r>
            <a:r>
              <a:rPr lang="en-US" dirty="0">
                <a:solidFill>
                  <a:schemeClr val="bg1"/>
                </a:solidFill>
              </a:rPr>
              <a:t>) automatically cancels meals when patients leave the hospital or cannot eat for medical reasons, and (ii) allows flexible selection of portion sizes and meal components.</a:t>
            </a:r>
          </a:p>
          <a:p>
            <a:pPr marL="342900" indent="-342900">
              <a:spcAft>
                <a:spcPts val="600"/>
              </a:spcAft>
              <a:buFont typeface="+mj-lt"/>
              <a:buAutoNum type="arabicPeriod" startAt="7"/>
            </a:pPr>
            <a:r>
              <a:rPr lang="en-US" dirty="0">
                <a:solidFill>
                  <a:schemeClr val="bg1"/>
                </a:solidFill>
              </a:rPr>
              <a:t>Interventions or information campaigns should focus on nutrition-related and environmental sustainability issues linked to food waste.</a:t>
            </a:r>
          </a:p>
          <a:p>
            <a:pPr marL="342900" indent="-342900">
              <a:spcAft>
                <a:spcPts val="600"/>
              </a:spcAft>
              <a:buFont typeface="+mj-lt"/>
              <a:buAutoNum type="arabicPeriod" startAt="7"/>
            </a:pPr>
            <a:r>
              <a:rPr lang="en-US" dirty="0">
                <a:solidFill>
                  <a:schemeClr val="bg1"/>
                </a:solidFill>
              </a:rPr>
              <a:t>Well-defined regulations are more effective in reducing household food waste than tax-based or economic incentives.</a:t>
            </a:r>
          </a:p>
          <a:p>
            <a:pPr marL="342900" indent="-342900">
              <a:spcAft>
                <a:spcPts val="600"/>
              </a:spcAft>
              <a:buFont typeface="+mj-lt"/>
              <a:buAutoNum type="arabicPeriod" startAt="7"/>
            </a:pPr>
            <a:r>
              <a:rPr lang="en-US" dirty="0">
                <a:solidFill>
                  <a:schemeClr val="bg1"/>
                </a:solidFill>
              </a:rPr>
              <a:t>The use of smart nutrition and environmental indicators at a global level can increase the perceived value of wasted food. Showing the true value of wasted food is a first step toward motivating consumers, businesses, and governments to take action to curb waste</a:t>
            </a:r>
            <a:endParaRPr lang="de-CH" dirty="0">
              <a:solidFill>
                <a:schemeClr val="bg1"/>
              </a:solidFill>
            </a:endParaRPr>
          </a:p>
        </p:txBody>
      </p:sp>
      <p:sp>
        <p:nvSpPr>
          <p:cNvPr id="4" name="Slide Number Placeholder 3">
            <a:extLst>
              <a:ext uri="{FF2B5EF4-FFF2-40B4-BE49-F238E27FC236}">
                <a16:creationId xmlns:a16="http://schemas.microsoft.com/office/drawing/2014/main" id="{7ADB525D-3DD4-A59C-5C6F-E8B6B9235152}"/>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A18AD0CF-5BA9-53E5-DA0C-773403CD2BA0}"/>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2853815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ynthesis: Policy </a:t>
            </a:r>
            <a:r>
              <a:rPr lang="de-CH" dirty="0" err="1"/>
              <a:t>recommendations</a:t>
            </a:r>
            <a:endParaRPr lang="de-CH" dirty="0"/>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6" y="1808163"/>
            <a:ext cx="7943214" cy="4213225"/>
          </a:xfrm>
        </p:spPr>
        <p:txBody>
          <a:bodyPr/>
          <a:lstStyle/>
          <a:p>
            <a:pPr marL="0" indent="0">
              <a:buNone/>
            </a:pPr>
            <a:r>
              <a:rPr lang="en-US" dirty="0"/>
              <a:t>Extreme weather, rising sea levels, and the loss of biodiversity threaten our well-being and livelihoods worldwide. We must adapt our resource consumption to what nature can provide. This applies both to consumption </a:t>
            </a:r>
            <a:r>
              <a:rPr lang="en-US" dirty="0" err="1"/>
              <a:t>behaviour</a:t>
            </a:r>
            <a:r>
              <a:rPr lang="en-US" dirty="0"/>
              <a:t> and to production processes. The necessary transition to a sustainable economy affects both present and future generations and therefore requires a long-term perspective. The aim of the synthesis is to present the key findings from the 29 research projects of the NFP 73, with a particular focus on policy recommendations.</a:t>
            </a:r>
          </a:p>
          <a:p>
            <a:pPr marL="0" indent="0" algn="l">
              <a:buNone/>
            </a:pPr>
            <a:endParaRPr lang="de-CH" dirty="0">
              <a:solidFill>
                <a:srgbClr val="262626"/>
              </a:solidFill>
            </a:endParaRPr>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6" name="object 4">
            <a:extLst>
              <a:ext uri="{FF2B5EF4-FFF2-40B4-BE49-F238E27FC236}">
                <a16:creationId xmlns:a16="http://schemas.microsoft.com/office/drawing/2014/main" id="{087C3FF4-9333-5592-97C0-2FD945504E4C}"/>
              </a:ext>
            </a:extLst>
          </p:cNvPr>
          <p:cNvPicPr/>
          <p:nvPr/>
        </p:nvPicPr>
        <p:blipFill>
          <a:blip r:embed="rId2" cstate="print"/>
          <a:stretch>
            <a:fillRect/>
          </a:stretch>
        </p:blipFill>
        <p:spPr>
          <a:xfrm>
            <a:off x="8894656" y="1808163"/>
            <a:ext cx="2817918" cy="4226877"/>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5DC48B-B668-ECEA-BF2B-5D34F449995A}"/>
              </a:ext>
            </a:extLst>
          </p:cNvPr>
          <p:cNvSpPr>
            <a:spLocks noGrp="1"/>
          </p:cNvSpPr>
          <p:nvPr>
            <p:ph type="title"/>
          </p:nvPr>
        </p:nvSpPr>
        <p:spPr>
          <a:xfrm>
            <a:off x="479425" y="476250"/>
            <a:ext cx="11233150" cy="1044575"/>
          </a:xfrm>
        </p:spPr>
        <p:txBody>
          <a:bodyPr anchor="t">
            <a:normAutofit/>
          </a:bodyPr>
          <a:lstStyle/>
          <a:p>
            <a:r>
              <a:rPr lang="de-CH" dirty="0" err="1"/>
              <a:t>Circular</a:t>
            </a:r>
            <a:r>
              <a:rPr lang="de-CH" dirty="0"/>
              <a:t> </a:t>
            </a:r>
            <a:r>
              <a:rPr lang="de-CH" dirty="0" err="1"/>
              <a:t>ecnonomy</a:t>
            </a:r>
            <a:endParaRPr lang="de-CH" dirty="0"/>
          </a:p>
        </p:txBody>
      </p:sp>
      <p:sp>
        <p:nvSpPr>
          <p:cNvPr id="3" name="Text Placeholder 2">
            <a:extLst>
              <a:ext uri="{FF2B5EF4-FFF2-40B4-BE49-F238E27FC236}">
                <a16:creationId xmlns:a16="http://schemas.microsoft.com/office/drawing/2014/main" id="{DAF85952-DB8C-B122-58FE-2911E0F5563B}"/>
              </a:ext>
            </a:extLst>
          </p:cNvPr>
          <p:cNvSpPr>
            <a:spLocks noGrp="1"/>
          </p:cNvSpPr>
          <p:nvPr>
            <p:ph type="body" sz="quarter" idx="13"/>
          </p:nvPr>
        </p:nvSpPr>
        <p:spPr>
          <a:xfrm>
            <a:off x="479425" y="1808163"/>
            <a:ext cx="6696075" cy="4213226"/>
          </a:xfrm>
        </p:spPr>
        <p:txBody>
          <a:bodyPr>
            <a:noAutofit/>
          </a:bodyPr>
          <a:lstStyle/>
          <a:p>
            <a:pPr marL="0" indent="0">
              <a:lnSpc>
                <a:spcPct val="110000"/>
              </a:lnSpc>
              <a:spcAft>
                <a:spcPts val="600"/>
              </a:spcAft>
              <a:buNone/>
            </a:pPr>
            <a:r>
              <a:rPr lang="en-US" dirty="0"/>
              <a:t>In Switzerland, there is strong public support for recycling. In 2019, Switzerland reached a </a:t>
            </a:r>
            <a:r>
              <a:rPr lang="en-US" b="1" dirty="0"/>
              <a:t>recycling rate of 53%</a:t>
            </a:r>
            <a:r>
              <a:rPr lang="en-US" dirty="0"/>
              <a:t>, placing it among the leading countries in Europe. However, a sustainable circular economy involves more than just recycling. According to the widely used definition of the Ellen MacArthur Foundation (2015), a circular economy is “an economy that is restorative and regenerative by design and aims to keep products, components, and materials at their highest utility and value at all times, distinguishing between technical and biological cycles. This innovative economic model ultimately seeks to decouple economic growth from resource consumption.”</a:t>
            </a:r>
          </a:p>
          <a:p>
            <a:pPr marL="0" indent="0">
              <a:lnSpc>
                <a:spcPct val="110000"/>
              </a:lnSpc>
              <a:spcAft>
                <a:spcPts val="600"/>
              </a:spcAft>
              <a:buNone/>
            </a:pPr>
            <a:r>
              <a:rPr lang="de-CH" dirty="0">
                <a:hlinkClick r:id="rId2"/>
              </a:rPr>
              <a:t>NFP 73, </a:t>
            </a:r>
            <a:r>
              <a:rPr lang="de-CH" dirty="0" err="1">
                <a:hlinkClick r:id="rId2"/>
              </a:rPr>
              <a:t>Circular</a:t>
            </a:r>
            <a:r>
              <a:rPr lang="de-CH" dirty="0">
                <a:hlinkClick r:id="rId2"/>
              </a:rPr>
              <a:t> </a:t>
            </a:r>
            <a:r>
              <a:rPr lang="de-CH" dirty="0" err="1">
                <a:hlinkClick r:id="rId2"/>
              </a:rPr>
              <a:t>economy</a:t>
            </a:r>
            <a:endParaRPr lang="de-CH" dirty="0"/>
          </a:p>
        </p:txBody>
      </p:sp>
      <p:sp>
        <p:nvSpPr>
          <p:cNvPr id="4" name="Slide Number Placeholder 3">
            <a:extLst>
              <a:ext uri="{FF2B5EF4-FFF2-40B4-BE49-F238E27FC236}">
                <a16:creationId xmlns:a16="http://schemas.microsoft.com/office/drawing/2014/main" id="{8FDED405-5492-790F-3057-A7BF2E337449}"/>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20</a:t>
            </a:fld>
            <a:endParaRPr lang="de-CH"/>
          </a:p>
        </p:txBody>
      </p:sp>
      <p:sp>
        <p:nvSpPr>
          <p:cNvPr id="5" name="Footer Placeholder 4">
            <a:extLst>
              <a:ext uri="{FF2B5EF4-FFF2-40B4-BE49-F238E27FC236}">
                <a16:creationId xmlns:a16="http://schemas.microsoft.com/office/drawing/2014/main" id="{C3615D37-7D02-78B2-29A0-98B268A1B0F2}"/>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8" name="Picture 7">
            <a:extLst>
              <a:ext uri="{FF2B5EF4-FFF2-40B4-BE49-F238E27FC236}">
                <a16:creationId xmlns:a16="http://schemas.microsoft.com/office/drawing/2014/main" id="{3206C2DD-CB24-93BD-11A6-AEB81701FA18}"/>
              </a:ext>
            </a:extLst>
          </p:cNvPr>
          <p:cNvPicPr>
            <a:picLocks noChangeAspect="1"/>
          </p:cNvPicPr>
          <p:nvPr/>
        </p:nvPicPr>
        <p:blipFill rotWithShape="1">
          <a:blip r:embed="rId3"/>
          <a:srcRect l="17544" r="17544"/>
          <a:stretch>
            <a:fillRect/>
          </a:stretch>
        </p:blipFill>
        <p:spPr>
          <a:xfrm>
            <a:off x="7500135" y="1812758"/>
            <a:ext cx="4212440" cy="4212440"/>
          </a:xfrm>
          <a:prstGeom prst="rect">
            <a:avLst/>
          </a:prstGeom>
        </p:spPr>
      </p:pic>
    </p:spTree>
    <p:extLst>
      <p:ext uri="{BB962C8B-B14F-4D97-AF65-F5344CB8AC3E}">
        <p14:creationId xmlns:p14="http://schemas.microsoft.com/office/powerpoint/2010/main" val="4254070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6075952-E05C-FAC3-DA31-5A2032238681}"/>
              </a:ext>
            </a:extLst>
          </p:cNvPr>
          <p:cNvGraphicFramePr>
            <a:graphicFrameLocks noChangeAspect="1"/>
          </p:cNvGraphicFramePr>
          <p:nvPr>
            <p:custDataLst>
              <p:tags r:id="rId1"/>
            </p:custDataLst>
            <p:extLst>
              <p:ext uri="{D42A27DB-BD31-4B8C-83A1-F6EECF244321}">
                <p14:modId xmlns:p14="http://schemas.microsoft.com/office/powerpoint/2010/main" val="13112576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B6075952-E05C-FAC3-DA31-5A20322386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FD8DF3-F7DD-6FBB-D9A8-6B6078580B83}"/>
              </a:ext>
            </a:extLst>
          </p:cNvPr>
          <p:cNvSpPr>
            <a:spLocks noGrp="1"/>
          </p:cNvSpPr>
          <p:nvPr>
            <p:ph type="title"/>
          </p:nvPr>
        </p:nvSpPr>
        <p:spPr/>
        <p:txBody>
          <a:bodyPr vert="horz"/>
          <a:lstStyle/>
          <a:p>
            <a:r>
              <a:rPr lang="de-CH" dirty="0" err="1"/>
              <a:t>Circular</a:t>
            </a:r>
            <a:r>
              <a:rPr lang="de-CH" dirty="0"/>
              <a:t> Economy – </a:t>
            </a:r>
            <a:r>
              <a:rPr lang="de-CH" dirty="0" err="1"/>
              <a:t>Assignment</a:t>
            </a:r>
            <a:endParaRPr lang="de-CH" dirty="0"/>
          </a:p>
        </p:txBody>
      </p:sp>
      <p:sp>
        <p:nvSpPr>
          <p:cNvPr id="3" name="Slide Number Placeholder 2">
            <a:extLst>
              <a:ext uri="{FF2B5EF4-FFF2-40B4-BE49-F238E27FC236}">
                <a16:creationId xmlns:a16="http://schemas.microsoft.com/office/drawing/2014/main" id="{112DDF7B-1110-4D8D-BE3F-8EFA1958BF48}"/>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4" name="Text Placeholder 3">
            <a:extLst>
              <a:ext uri="{FF2B5EF4-FFF2-40B4-BE49-F238E27FC236}">
                <a16:creationId xmlns:a16="http://schemas.microsoft.com/office/drawing/2014/main" id="{8844F6BB-63A9-A090-D90D-71F432F7E24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6834281-3E6F-FDDA-F8E2-E71173134997}"/>
              </a:ext>
            </a:extLst>
          </p:cNvPr>
          <p:cNvSpPr>
            <a:spLocks noGrp="1"/>
          </p:cNvSpPr>
          <p:nvPr>
            <p:ph type="body" sz="quarter" idx="13"/>
          </p:nvPr>
        </p:nvSpPr>
        <p:spPr>
          <a:xfrm>
            <a:off x="479426" y="2565400"/>
            <a:ext cx="4608512" cy="3455988"/>
          </a:xfrm>
        </p:spPr>
        <p:txBody>
          <a:bodyPr/>
          <a:lstStyle/>
          <a:p>
            <a:pPr marL="0" indent="0">
              <a:buNone/>
            </a:pPr>
            <a:r>
              <a:rPr lang="en-US" dirty="0"/>
              <a:t>Which specific recommendations would you derive from the research findings (see the learning module “Circular Economy”), and to whom would you address these recommendations?</a:t>
            </a:r>
          </a:p>
          <a:p>
            <a:pPr marL="0" indent="0">
              <a:buNone/>
            </a:pPr>
            <a:endParaRPr lang="en-US" dirty="0"/>
          </a:p>
          <a:p>
            <a:pPr marL="0" indent="0">
              <a:buNone/>
            </a:pPr>
            <a:r>
              <a:rPr lang="en-US" dirty="0"/>
              <a:t>Then compare your recommendations with those of the researchers.</a:t>
            </a:r>
          </a:p>
          <a:p>
            <a:pPr marL="0" indent="0">
              <a:buNone/>
            </a:pPr>
            <a:endParaRPr lang="de-CH" dirty="0"/>
          </a:p>
        </p:txBody>
      </p:sp>
      <p:sp>
        <p:nvSpPr>
          <p:cNvPr id="6" name="Text Placeholder 5">
            <a:extLst>
              <a:ext uri="{FF2B5EF4-FFF2-40B4-BE49-F238E27FC236}">
                <a16:creationId xmlns:a16="http://schemas.microsoft.com/office/drawing/2014/main" id="{AED43D06-6DF5-C8E4-A411-6D91E8ED4C5A}"/>
              </a:ext>
            </a:extLst>
          </p:cNvPr>
          <p:cNvSpPr>
            <a:spLocks noGrp="1"/>
          </p:cNvSpPr>
          <p:nvPr>
            <p:ph type="body" sz="quarter" idx="12"/>
          </p:nvPr>
        </p:nvSpPr>
        <p:spPr>
          <a:xfrm>
            <a:off x="479424" y="1808163"/>
            <a:ext cx="4879426" cy="587375"/>
          </a:xfrm>
        </p:spPr>
        <p:txBody>
          <a:bodyPr/>
          <a:lstStyle/>
          <a:p>
            <a:r>
              <a:rPr lang="de-CH" dirty="0" err="1"/>
              <a:t>Assignment</a:t>
            </a:r>
            <a:endParaRPr lang="de-CH" dirty="0"/>
          </a:p>
        </p:txBody>
      </p:sp>
      <p:sp>
        <p:nvSpPr>
          <p:cNvPr id="8" name="Footer Placeholder 7">
            <a:extLst>
              <a:ext uri="{FF2B5EF4-FFF2-40B4-BE49-F238E27FC236}">
                <a16:creationId xmlns:a16="http://schemas.microsoft.com/office/drawing/2014/main" id="{BF92D196-BE58-E449-936B-757B3559D8AA}"/>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7" name="Picture Placeholder 16">
            <a:extLst>
              <a:ext uri="{FF2B5EF4-FFF2-40B4-BE49-F238E27FC236}">
                <a16:creationId xmlns:a16="http://schemas.microsoft.com/office/drawing/2014/main" id="{97DA2463-1D3B-6218-9606-6947CB706E97}"/>
              </a:ext>
            </a:extLst>
          </p:cNvPr>
          <p:cNvPicPr>
            <a:picLocks noGrp="1" noChangeAspect="1"/>
          </p:cNvPicPr>
          <p:nvPr>
            <p:ph type="pic" sz="quarter" idx="16"/>
          </p:nvPr>
        </p:nvPicPr>
        <p:blipFill>
          <a:blip r:embed="rId5"/>
          <a:srcRect t="7612" b="7612"/>
          <a:stretch>
            <a:fillRect/>
          </a:stretch>
        </p:blipFill>
        <p:spPr>
          <a:xfrm>
            <a:off x="5359400" y="1808163"/>
            <a:ext cx="6353175" cy="4213225"/>
          </a:xfrm>
          <a:prstGeom prst="rect">
            <a:avLst/>
          </a:prstGeom>
          <a:noFill/>
        </p:spPr>
      </p:pic>
    </p:spTree>
    <p:extLst>
      <p:ext uri="{BB962C8B-B14F-4D97-AF65-F5344CB8AC3E}">
        <p14:creationId xmlns:p14="http://schemas.microsoft.com/office/powerpoint/2010/main" val="3483247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D639DDB-FD64-BAC2-25C2-9FDE9CA9CE90}"/>
              </a:ext>
            </a:extLst>
          </p:cNvPr>
          <p:cNvGraphicFramePr>
            <a:graphicFrameLocks noChangeAspect="1"/>
          </p:cNvGraphicFramePr>
          <p:nvPr>
            <p:custDataLst>
              <p:tags r:id="rId1"/>
            </p:custDataLst>
            <p:extLst>
              <p:ext uri="{D42A27DB-BD31-4B8C-83A1-F6EECF244321}">
                <p14:modId xmlns:p14="http://schemas.microsoft.com/office/powerpoint/2010/main" val="19515121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D639DDB-FD64-BAC2-25C2-9FDE9CA9CE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DA33CE-8EEA-7B50-FCC1-9AE04F0C2F5C}"/>
              </a:ext>
            </a:extLst>
          </p:cNvPr>
          <p:cNvSpPr>
            <a:spLocks noGrp="1"/>
          </p:cNvSpPr>
          <p:nvPr>
            <p:ph type="title"/>
          </p:nvPr>
        </p:nvSpPr>
        <p:spPr/>
        <p:txBody>
          <a:bodyPr vert="horz"/>
          <a:lstStyle/>
          <a:p>
            <a:r>
              <a:rPr lang="de-CH" dirty="0" err="1"/>
              <a:t>Circular</a:t>
            </a:r>
            <a:r>
              <a:rPr lang="de-CH" dirty="0"/>
              <a:t> </a:t>
            </a:r>
            <a:r>
              <a:rPr lang="de-CH" dirty="0" err="1"/>
              <a:t>economy</a:t>
            </a:r>
            <a:r>
              <a:rPr lang="de-CH" dirty="0"/>
              <a:t> – </a:t>
            </a:r>
            <a:r>
              <a:rPr lang="de-CH" dirty="0" err="1"/>
              <a:t>recommendations</a:t>
            </a:r>
            <a:r>
              <a:rPr lang="de-CH" dirty="0"/>
              <a:t> I</a:t>
            </a:r>
          </a:p>
        </p:txBody>
      </p:sp>
      <p:sp>
        <p:nvSpPr>
          <p:cNvPr id="3" name="Text Placeholder 2">
            <a:extLst>
              <a:ext uri="{FF2B5EF4-FFF2-40B4-BE49-F238E27FC236}">
                <a16:creationId xmlns:a16="http://schemas.microsoft.com/office/drawing/2014/main" id="{049B5487-F3EB-E3F1-3F12-22BA107C033A}"/>
              </a:ext>
            </a:extLst>
          </p:cNvPr>
          <p:cNvSpPr>
            <a:spLocks noGrp="1"/>
          </p:cNvSpPr>
          <p:nvPr>
            <p:ph type="body" sz="quarter" idx="13"/>
          </p:nvPr>
        </p:nvSpPr>
        <p:spPr/>
        <p:txBody>
          <a:bodyPr/>
          <a:lstStyle/>
          <a:p>
            <a:pPr marL="342900" indent="-342900">
              <a:buFont typeface="+mj-lt"/>
              <a:buAutoNum type="arabicPeriod"/>
            </a:pPr>
            <a:r>
              <a:rPr lang="en-US" dirty="0"/>
              <a:t>Since merely keeping materials in circulation is not inherently sustainable, ecological and economic indicators must be used to identify sustainable loops (the “Retained Environmental Value” indicator).</a:t>
            </a:r>
          </a:p>
          <a:p>
            <a:pPr marL="342900" indent="-342900">
              <a:buFont typeface="+mj-lt"/>
              <a:buAutoNum type="arabicPeriod"/>
            </a:pPr>
            <a:r>
              <a:rPr lang="en-US" dirty="0"/>
              <a:t>Framework conditions need to be adjusted by introducing market-based instruments that aim to </a:t>
            </a:r>
            <a:r>
              <a:rPr lang="en-US" dirty="0" err="1"/>
              <a:t>internalise</a:t>
            </a:r>
            <a:r>
              <a:rPr lang="en-US" dirty="0"/>
              <a:t> the external effects of all goods and services within the Swiss market, and by applying border-adjustment mechanisms for imports.</a:t>
            </a:r>
          </a:p>
        </p:txBody>
      </p:sp>
      <p:sp>
        <p:nvSpPr>
          <p:cNvPr id="4" name="Slide Number Placeholder 3">
            <a:extLst>
              <a:ext uri="{FF2B5EF4-FFF2-40B4-BE49-F238E27FC236}">
                <a16:creationId xmlns:a16="http://schemas.microsoft.com/office/drawing/2014/main" id="{0E8944B2-B115-357F-437A-7940CAE12E6F}"/>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D462ECEF-68FB-5D10-6CD8-2F45CDF9888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998081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7989F-2469-7BE1-3621-F10E6C1D91E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A32B731-FA8D-1F16-9D43-D1DB9A314F84}"/>
              </a:ext>
            </a:extLst>
          </p:cNvPr>
          <p:cNvGraphicFramePr>
            <a:graphicFrameLocks noChangeAspect="1"/>
          </p:cNvGraphicFramePr>
          <p:nvPr>
            <p:custDataLst>
              <p:tags r:id="rId1"/>
            </p:custDataLst>
            <p:extLst>
              <p:ext uri="{D42A27DB-BD31-4B8C-83A1-F6EECF244321}">
                <p14:modId xmlns:p14="http://schemas.microsoft.com/office/powerpoint/2010/main" val="1317367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A32B731-FA8D-1F16-9D43-D1DB9A314F8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62309C-1B8B-AA4E-1DF6-B42086EE9FFE}"/>
              </a:ext>
            </a:extLst>
          </p:cNvPr>
          <p:cNvSpPr>
            <a:spLocks noGrp="1"/>
          </p:cNvSpPr>
          <p:nvPr>
            <p:ph type="title"/>
          </p:nvPr>
        </p:nvSpPr>
        <p:spPr/>
        <p:txBody>
          <a:bodyPr vert="horz"/>
          <a:lstStyle/>
          <a:p>
            <a:r>
              <a:rPr lang="de-CH" dirty="0" err="1"/>
              <a:t>Circular</a:t>
            </a:r>
            <a:r>
              <a:rPr lang="de-CH" dirty="0"/>
              <a:t> </a:t>
            </a:r>
            <a:r>
              <a:rPr lang="de-CH" dirty="0" err="1"/>
              <a:t>economy</a:t>
            </a:r>
            <a:r>
              <a:rPr lang="de-CH" dirty="0"/>
              <a:t> – </a:t>
            </a:r>
            <a:r>
              <a:rPr lang="de-CH" dirty="0" err="1"/>
              <a:t>recommendations</a:t>
            </a:r>
            <a:r>
              <a:rPr lang="de-CH" dirty="0"/>
              <a:t> II</a:t>
            </a:r>
          </a:p>
        </p:txBody>
      </p:sp>
      <p:sp>
        <p:nvSpPr>
          <p:cNvPr id="3" name="Text Placeholder 2">
            <a:extLst>
              <a:ext uri="{FF2B5EF4-FFF2-40B4-BE49-F238E27FC236}">
                <a16:creationId xmlns:a16="http://schemas.microsoft.com/office/drawing/2014/main" id="{175A34D2-CA18-463F-3BD3-2F3FD1A0D8FE}"/>
              </a:ext>
            </a:extLst>
          </p:cNvPr>
          <p:cNvSpPr>
            <a:spLocks noGrp="1"/>
          </p:cNvSpPr>
          <p:nvPr>
            <p:ph type="body" sz="quarter" idx="13"/>
          </p:nvPr>
        </p:nvSpPr>
        <p:spPr/>
        <p:txBody>
          <a:bodyPr/>
          <a:lstStyle/>
          <a:p>
            <a:pPr marL="342900" indent="-342900">
              <a:buFont typeface="+mj-lt"/>
              <a:buAutoNum type="arabicPeriod"/>
            </a:pPr>
            <a:r>
              <a:rPr lang="en-US" dirty="0"/>
              <a:t>Incentives for corporate responsibility must be created, since circular solutions can be tackled and successfully implemented through collaboration between companies and other stakeholders. This should be </a:t>
            </a:r>
            <a:r>
              <a:rPr lang="en-US" dirty="0" err="1"/>
              <a:t>recognised</a:t>
            </a:r>
            <a:r>
              <a:rPr lang="en-US" dirty="0"/>
              <a:t> in general legislation through a comprehensive review of existing laws and regulations and the removal of barriers to systemic change.</a:t>
            </a:r>
          </a:p>
          <a:p>
            <a:pPr marL="342900" indent="-342900">
              <a:buFont typeface="+mj-lt"/>
              <a:buAutoNum type="arabicPeriod"/>
            </a:pPr>
            <a:r>
              <a:rPr lang="en-US" dirty="0"/>
              <a:t>In the construction sector, learning processes should be promoted to increase the use of secondary materials across the entire value chain, including building design and planning, new technologies for demolition, sorting, and recycling, and new concepts in supply-chain management.</a:t>
            </a:r>
          </a:p>
        </p:txBody>
      </p:sp>
      <p:sp>
        <p:nvSpPr>
          <p:cNvPr id="4" name="Slide Number Placeholder 3">
            <a:extLst>
              <a:ext uri="{FF2B5EF4-FFF2-40B4-BE49-F238E27FC236}">
                <a16:creationId xmlns:a16="http://schemas.microsoft.com/office/drawing/2014/main" id="{5D82F52C-D4D1-2DFE-E121-CB6F340F5741}"/>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ooter Placeholder 4">
            <a:extLst>
              <a:ext uri="{FF2B5EF4-FFF2-40B4-BE49-F238E27FC236}">
                <a16:creationId xmlns:a16="http://schemas.microsoft.com/office/drawing/2014/main" id="{03284092-21F6-6CF5-6F26-A55FCEE2638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406183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BA85F-4996-11A5-F5CF-775DFA0BD7EF}"/>
              </a:ext>
            </a:extLst>
          </p:cNvPr>
          <p:cNvSpPr>
            <a:spLocks noGrp="1"/>
          </p:cNvSpPr>
          <p:nvPr>
            <p:ph type="title"/>
          </p:nvPr>
        </p:nvSpPr>
        <p:spPr>
          <a:xfrm>
            <a:off x="479425" y="476250"/>
            <a:ext cx="11233150" cy="1044575"/>
          </a:xfrm>
        </p:spPr>
        <p:txBody>
          <a:bodyPr anchor="t">
            <a:normAutofit/>
          </a:bodyPr>
          <a:lstStyle/>
          <a:p>
            <a:r>
              <a:rPr lang="de-CH" dirty="0"/>
              <a:t>Building and Construction</a:t>
            </a:r>
          </a:p>
        </p:txBody>
      </p:sp>
      <p:sp>
        <p:nvSpPr>
          <p:cNvPr id="3" name="Text Placeholder 2">
            <a:extLst>
              <a:ext uri="{FF2B5EF4-FFF2-40B4-BE49-F238E27FC236}">
                <a16:creationId xmlns:a16="http://schemas.microsoft.com/office/drawing/2014/main" id="{A77EF6B5-7823-9DFD-C597-9FAF6B362E50}"/>
              </a:ext>
            </a:extLst>
          </p:cNvPr>
          <p:cNvSpPr>
            <a:spLocks noGrp="1"/>
          </p:cNvSpPr>
          <p:nvPr>
            <p:ph type="body" sz="quarter" idx="13"/>
          </p:nvPr>
        </p:nvSpPr>
        <p:spPr>
          <a:xfrm>
            <a:off x="479425" y="1946920"/>
            <a:ext cx="5616575" cy="4074468"/>
          </a:xfrm>
        </p:spPr>
        <p:txBody>
          <a:bodyPr>
            <a:normAutofit/>
          </a:bodyPr>
          <a:lstStyle/>
          <a:p>
            <a:pPr marL="0" indent="0">
              <a:spcAft>
                <a:spcPts val="600"/>
              </a:spcAft>
              <a:buNone/>
            </a:pPr>
            <a:r>
              <a:rPr lang="en-US" dirty="0"/>
              <a:t>Material use in construction accounts for 71.3%, while 28.3% of our CO₂ footprint comes from this sector. To achieve a climate-neutral and resource-efficient construction industry by 2050, policy measures are needed at all levels to create incentives for more resource-efficient building and living. A combination of demand-side and supply-side strategies is recommended.</a:t>
            </a:r>
          </a:p>
          <a:p>
            <a:pPr marL="0" indent="0">
              <a:spcAft>
                <a:spcPts val="600"/>
              </a:spcAft>
              <a:buNone/>
            </a:pPr>
            <a:endParaRPr lang="de-CH" dirty="0"/>
          </a:p>
          <a:p>
            <a:pPr marL="0" indent="0" algn="r">
              <a:spcAft>
                <a:spcPts val="600"/>
              </a:spcAft>
              <a:buNone/>
            </a:pPr>
            <a:r>
              <a:rPr lang="de-CH" dirty="0">
                <a:hlinkClick r:id="rId2"/>
              </a:rPr>
              <a:t>NFP 73, Building and Construction</a:t>
            </a:r>
            <a:endParaRPr lang="de-CH" dirty="0"/>
          </a:p>
          <a:p>
            <a:pPr marL="0" indent="0" algn="r">
              <a:spcAft>
                <a:spcPts val="600"/>
              </a:spcAft>
              <a:buNone/>
            </a:pPr>
            <a:endParaRPr lang="de-CH" dirty="0"/>
          </a:p>
        </p:txBody>
      </p:sp>
      <p:sp>
        <p:nvSpPr>
          <p:cNvPr id="4" name="Slide Number Placeholder 3">
            <a:extLst>
              <a:ext uri="{FF2B5EF4-FFF2-40B4-BE49-F238E27FC236}">
                <a16:creationId xmlns:a16="http://schemas.microsoft.com/office/drawing/2014/main" id="{173A4EE3-4EE7-727B-FF9A-7976D7043ACA}"/>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24</a:t>
            </a:fld>
            <a:endParaRPr lang="de-CH"/>
          </a:p>
        </p:txBody>
      </p:sp>
      <p:sp>
        <p:nvSpPr>
          <p:cNvPr id="5" name="Footer Placeholder 4">
            <a:extLst>
              <a:ext uri="{FF2B5EF4-FFF2-40B4-BE49-F238E27FC236}">
                <a16:creationId xmlns:a16="http://schemas.microsoft.com/office/drawing/2014/main" id="{26A1DA48-9281-96C5-0225-8DB1166AB530}"/>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6" name="object 7">
            <a:extLst>
              <a:ext uri="{FF2B5EF4-FFF2-40B4-BE49-F238E27FC236}">
                <a16:creationId xmlns:a16="http://schemas.microsoft.com/office/drawing/2014/main" id="{07037BD5-8D9B-BEAB-D3AF-424FD164D2A5}"/>
              </a:ext>
            </a:extLst>
          </p:cNvPr>
          <p:cNvPicPr/>
          <p:nvPr/>
        </p:nvPicPr>
        <p:blipFill>
          <a:blip r:embed="rId3" cstate="print"/>
          <a:srcRect l="16919"/>
          <a:stretch>
            <a:fillRect/>
          </a:stretch>
        </p:blipFill>
        <p:spPr>
          <a:xfrm>
            <a:off x="6311900" y="1808163"/>
            <a:ext cx="5400675" cy="4213225"/>
          </a:xfrm>
          <a:prstGeom prst="rect">
            <a:avLst/>
          </a:prstGeom>
        </p:spPr>
      </p:pic>
    </p:spTree>
    <p:extLst>
      <p:ext uri="{BB962C8B-B14F-4D97-AF65-F5344CB8AC3E}">
        <p14:creationId xmlns:p14="http://schemas.microsoft.com/office/powerpoint/2010/main" val="40566175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13D9E23-1537-245D-EA34-973642011144}"/>
              </a:ext>
            </a:extLst>
          </p:cNvPr>
          <p:cNvGraphicFramePr>
            <a:graphicFrameLocks noChangeAspect="1"/>
          </p:cNvGraphicFramePr>
          <p:nvPr>
            <p:custDataLst>
              <p:tags r:id="rId1"/>
            </p:custDataLst>
            <p:extLst>
              <p:ext uri="{D42A27DB-BD31-4B8C-83A1-F6EECF244321}">
                <p14:modId xmlns:p14="http://schemas.microsoft.com/office/powerpoint/2010/main" val="6512840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13D9E23-1537-245D-EA34-9736420111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930261-160D-37C1-1B29-FEF507B19A4F}"/>
              </a:ext>
            </a:extLst>
          </p:cNvPr>
          <p:cNvSpPr>
            <a:spLocks noGrp="1"/>
          </p:cNvSpPr>
          <p:nvPr>
            <p:ph type="title"/>
          </p:nvPr>
        </p:nvSpPr>
        <p:spPr/>
        <p:txBody>
          <a:bodyPr vert="horz"/>
          <a:lstStyle/>
          <a:p>
            <a:r>
              <a:rPr lang="de-CH" dirty="0"/>
              <a:t>Building and Construction – </a:t>
            </a:r>
            <a:r>
              <a:rPr lang="de-CH" dirty="0" err="1"/>
              <a:t>Assignment</a:t>
            </a:r>
            <a:endParaRPr lang="de-CH" dirty="0"/>
          </a:p>
        </p:txBody>
      </p:sp>
      <p:sp>
        <p:nvSpPr>
          <p:cNvPr id="3" name="Slide Number Placeholder 2">
            <a:extLst>
              <a:ext uri="{FF2B5EF4-FFF2-40B4-BE49-F238E27FC236}">
                <a16:creationId xmlns:a16="http://schemas.microsoft.com/office/drawing/2014/main" id="{EA71515E-524F-8FE7-2C8A-6922E20204E3}"/>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4" name="Text Placeholder 3">
            <a:extLst>
              <a:ext uri="{FF2B5EF4-FFF2-40B4-BE49-F238E27FC236}">
                <a16:creationId xmlns:a16="http://schemas.microsoft.com/office/drawing/2014/main" id="{7E9806AA-8C6A-D53C-1306-EB52456D5E1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53ED9CB3-BA55-30C5-5985-46B18189C2A7}"/>
              </a:ext>
            </a:extLst>
          </p:cNvPr>
          <p:cNvSpPr>
            <a:spLocks noGrp="1"/>
          </p:cNvSpPr>
          <p:nvPr>
            <p:ph type="body" sz="quarter" idx="13"/>
          </p:nvPr>
        </p:nvSpPr>
        <p:spPr>
          <a:xfrm>
            <a:off x="479426" y="2565400"/>
            <a:ext cx="4608512" cy="3455988"/>
          </a:xfrm>
        </p:spPr>
        <p:txBody>
          <a:bodyPr/>
          <a:lstStyle/>
          <a:p>
            <a:pPr marL="0" indent="0">
              <a:buNone/>
            </a:pPr>
            <a:r>
              <a:rPr lang="en-US" dirty="0"/>
              <a:t>Which specific recommendations would you derive from the research findings (see the learning module “Building and Construction”), and to whom would you address these recommendations?</a:t>
            </a:r>
          </a:p>
          <a:p>
            <a:pPr marL="0" indent="0">
              <a:buNone/>
            </a:pPr>
            <a:endParaRPr lang="en-US" dirty="0"/>
          </a:p>
          <a:p>
            <a:pPr marL="0" indent="0">
              <a:buNone/>
            </a:pPr>
            <a:r>
              <a:rPr lang="en-US" dirty="0"/>
              <a:t>Then compare your recommendations with those of the researchers.</a:t>
            </a:r>
          </a:p>
          <a:p>
            <a:pPr marL="0" indent="0">
              <a:buNone/>
            </a:pPr>
            <a:endParaRPr lang="de-CH" dirty="0"/>
          </a:p>
        </p:txBody>
      </p:sp>
      <p:sp>
        <p:nvSpPr>
          <p:cNvPr id="6" name="Text Placeholder 5">
            <a:extLst>
              <a:ext uri="{FF2B5EF4-FFF2-40B4-BE49-F238E27FC236}">
                <a16:creationId xmlns:a16="http://schemas.microsoft.com/office/drawing/2014/main" id="{EF54AE37-B4BD-6B27-943F-3ADBBCC1EFE9}"/>
              </a:ext>
            </a:extLst>
          </p:cNvPr>
          <p:cNvSpPr>
            <a:spLocks noGrp="1"/>
          </p:cNvSpPr>
          <p:nvPr>
            <p:ph type="body" sz="quarter" idx="12"/>
          </p:nvPr>
        </p:nvSpPr>
        <p:spPr>
          <a:xfrm>
            <a:off x="479424" y="1808163"/>
            <a:ext cx="4879426" cy="587375"/>
          </a:xfrm>
        </p:spPr>
        <p:txBody>
          <a:bodyPr/>
          <a:lstStyle/>
          <a:p>
            <a:r>
              <a:rPr lang="de-CH" dirty="0" err="1"/>
              <a:t>Assignment</a:t>
            </a:r>
            <a:endParaRPr lang="de-CH" dirty="0"/>
          </a:p>
        </p:txBody>
      </p:sp>
      <p:sp>
        <p:nvSpPr>
          <p:cNvPr id="8" name="Footer Placeholder 7">
            <a:extLst>
              <a:ext uri="{FF2B5EF4-FFF2-40B4-BE49-F238E27FC236}">
                <a16:creationId xmlns:a16="http://schemas.microsoft.com/office/drawing/2014/main" id="{8D5C292E-85BA-3BB9-F198-BEC5E91C5E23}"/>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2050" name="Picture 2">
            <a:extLst>
              <a:ext uri="{FF2B5EF4-FFF2-40B4-BE49-F238E27FC236}">
                <a16:creationId xmlns:a16="http://schemas.microsoft.com/office/drawing/2014/main" id="{524BB671-ACC7-61EB-FB45-91C6D940239D}"/>
              </a:ext>
            </a:extLst>
          </p:cNvPr>
          <p:cNvPicPr>
            <a:picLocks noGrp="1" noChangeAspect="1" noChangeArrowheads="1"/>
          </p:cNvPicPr>
          <p:nvPr>
            <p:ph type="pic" sz="quarter" idx="16"/>
          </p:nvPr>
        </p:nvPicPr>
        <p:blipFill>
          <a:blip r:embed="rId5">
            <a:extLst>
              <a:ext uri="{28A0092B-C50C-407E-A947-70E740481C1C}">
                <a14:useLocalDpi xmlns:a14="http://schemas.microsoft.com/office/drawing/2010/main" val="0"/>
              </a:ext>
            </a:extLst>
          </a:blip>
          <a:srcRect t="223" b="223"/>
          <a:stretch>
            <a:fillRect/>
          </a:stretch>
        </p:blipFill>
        <p:spPr bwMode="auto">
          <a:xfrm>
            <a:off x="5359400" y="1808163"/>
            <a:ext cx="6353175" cy="4213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77767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D797EBB-3B59-561D-5FFF-693FD51565F2}"/>
              </a:ext>
            </a:extLst>
          </p:cNvPr>
          <p:cNvGraphicFramePr>
            <a:graphicFrameLocks noChangeAspect="1"/>
          </p:cNvGraphicFramePr>
          <p:nvPr>
            <p:custDataLst>
              <p:tags r:id="rId1"/>
            </p:custDataLst>
            <p:extLst>
              <p:ext uri="{D42A27DB-BD31-4B8C-83A1-F6EECF244321}">
                <p14:modId xmlns:p14="http://schemas.microsoft.com/office/powerpoint/2010/main" val="35834454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D797EBB-3B59-561D-5FFF-693FD51565F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1BDE91-AAD0-F0F8-096A-F596AE27970D}"/>
              </a:ext>
            </a:extLst>
          </p:cNvPr>
          <p:cNvSpPr>
            <a:spLocks noGrp="1"/>
          </p:cNvSpPr>
          <p:nvPr>
            <p:ph type="title"/>
          </p:nvPr>
        </p:nvSpPr>
        <p:spPr/>
        <p:txBody>
          <a:bodyPr vert="horz"/>
          <a:lstStyle/>
          <a:p>
            <a:r>
              <a:rPr lang="de-CH" dirty="0"/>
              <a:t>Building and Construction – </a:t>
            </a:r>
            <a:r>
              <a:rPr lang="de-CH" dirty="0" err="1"/>
              <a:t>recommendation</a:t>
            </a:r>
            <a:r>
              <a:rPr lang="de-CH" dirty="0"/>
              <a:t> I</a:t>
            </a:r>
          </a:p>
        </p:txBody>
      </p:sp>
      <p:sp>
        <p:nvSpPr>
          <p:cNvPr id="3" name="Text Placeholder 2">
            <a:extLst>
              <a:ext uri="{FF2B5EF4-FFF2-40B4-BE49-F238E27FC236}">
                <a16:creationId xmlns:a16="http://schemas.microsoft.com/office/drawing/2014/main" id="{66DBD915-C139-6A72-D23B-7DBB31E2F9D5}"/>
              </a:ext>
            </a:extLst>
          </p:cNvPr>
          <p:cNvSpPr>
            <a:spLocks noGrp="1"/>
          </p:cNvSpPr>
          <p:nvPr>
            <p:ph type="body" sz="quarter" idx="13"/>
          </p:nvPr>
        </p:nvSpPr>
        <p:spPr/>
        <p:txBody>
          <a:bodyPr/>
          <a:lstStyle/>
          <a:p>
            <a:pPr marL="342900" indent="-342900">
              <a:buFont typeface="+mj-lt"/>
              <a:buAutoNum type="arabicPeriod"/>
            </a:pPr>
            <a:r>
              <a:rPr lang="en-US" dirty="0">
                <a:solidFill>
                  <a:schemeClr val="bg1"/>
                </a:solidFill>
              </a:rPr>
              <a:t>Deploy new technologies for the demolition and recycling of buildings, components, and construction materials.</a:t>
            </a:r>
          </a:p>
          <a:p>
            <a:pPr marL="342900" indent="-342900">
              <a:buFont typeface="+mj-lt"/>
              <a:buAutoNum type="arabicPeriod"/>
            </a:pPr>
            <a:r>
              <a:rPr lang="en-US" dirty="0">
                <a:solidFill>
                  <a:schemeClr val="bg1"/>
                </a:solidFill>
              </a:rPr>
              <a:t>Replace fossil fuels in the operational energy use of buildings and in the production of building materials, supported by economic incentives.</a:t>
            </a:r>
          </a:p>
          <a:p>
            <a:pPr marL="342900" indent="-342900">
              <a:buFont typeface="+mj-lt"/>
              <a:buAutoNum type="arabicPeriod"/>
            </a:pPr>
            <a:r>
              <a:rPr lang="en-US" dirty="0">
                <a:solidFill>
                  <a:schemeClr val="bg1"/>
                </a:solidFill>
              </a:rPr>
              <a:t>Increase the share of biomass-based materials (e.g., wood) as well as reused/recycled materials in construction in order to change the material mix in housing. This includes making better use of local forests.</a:t>
            </a:r>
            <a:endParaRPr lang="de-CH" dirty="0">
              <a:solidFill>
                <a:schemeClr val="bg1"/>
              </a:solidFill>
            </a:endParaRPr>
          </a:p>
          <a:p>
            <a:pPr marL="342900" indent="-342900">
              <a:buFont typeface="+mj-lt"/>
              <a:buAutoNum type="arabicPeriod"/>
            </a:pPr>
            <a:endParaRPr lang="de-CH" dirty="0">
              <a:solidFill>
                <a:schemeClr val="bg1"/>
              </a:solidFill>
            </a:endParaRPr>
          </a:p>
          <a:p>
            <a:pPr marL="342900" indent="-342900">
              <a:buFont typeface="+mj-lt"/>
              <a:buAutoNum type="arabicPeriod"/>
            </a:pPr>
            <a:endParaRPr lang="de-CH" dirty="0">
              <a:solidFill>
                <a:schemeClr val="bg1"/>
              </a:solidFill>
            </a:endParaRPr>
          </a:p>
          <a:p>
            <a:endParaRPr lang="de-CH" dirty="0"/>
          </a:p>
        </p:txBody>
      </p:sp>
      <p:sp>
        <p:nvSpPr>
          <p:cNvPr id="4" name="Slide Number Placeholder 3">
            <a:extLst>
              <a:ext uri="{FF2B5EF4-FFF2-40B4-BE49-F238E27FC236}">
                <a16:creationId xmlns:a16="http://schemas.microsoft.com/office/drawing/2014/main" id="{51F53487-AC8A-5E17-94D4-EC8370CB22EF}"/>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41FDD5CB-BD45-5307-E37F-D504FE3BD60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186229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C1746-A907-4836-8154-7A3D05F0EBE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3B36C51-0CA5-9DAF-8BDF-9B48544E6C6E}"/>
              </a:ext>
            </a:extLst>
          </p:cNvPr>
          <p:cNvGraphicFramePr>
            <a:graphicFrameLocks noChangeAspect="1"/>
          </p:cNvGraphicFramePr>
          <p:nvPr>
            <p:custDataLst>
              <p:tags r:id="rId1"/>
            </p:custDataLst>
            <p:extLst>
              <p:ext uri="{D42A27DB-BD31-4B8C-83A1-F6EECF244321}">
                <p14:modId xmlns:p14="http://schemas.microsoft.com/office/powerpoint/2010/main" val="4368336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3B36C51-0CA5-9DAF-8BDF-9B48544E6C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6CE24A-2716-9D72-2CD7-3B96F2E329F7}"/>
              </a:ext>
            </a:extLst>
          </p:cNvPr>
          <p:cNvSpPr>
            <a:spLocks noGrp="1"/>
          </p:cNvSpPr>
          <p:nvPr>
            <p:ph type="title"/>
          </p:nvPr>
        </p:nvSpPr>
        <p:spPr/>
        <p:txBody>
          <a:bodyPr vert="horz"/>
          <a:lstStyle/>
          <a:p>
            <a:r>
              <a:rPr lang="de-CH" dirty="0"/>
              <a:t>Building and Construction – </a:t>
            </a:r>
            <a:r>
              <a:rPr lang="de-CH" dirty="0" err="1"/>
              <a:t>recommendation</a:t>
            </a:r>
            <a:r>
              <a:rPr lang="de-CH" dirty="0"/>
              <a:t> II</a:t>
            </a:r>
          </a:p>
        </p:txBody>
      </p:sp>
      <p:sp>
        <p:nvSpPr>
          <p:cNvPr id="3" name="Text Placeholder 2">
            <a:extLst>
              <a:ext uri="{FF2B5EF4-FFF2-40B4-BE49-F238E27FC236}">
                <a16:creationId xmlns:a16="http://schemas.microsoft.com/office/drawing/2014/main" id="{A88FEC8D-8D3F-33D4-F381-0E0AF288F9D5}"/>
              </a:ext>
            </a:extLst>
          </p:cNvPr>
          <p:cNvSpPr>
            <a:spLocks noGrp="1"/>
          </p:cNvSpPr>
          <p:nvPr>
            <p:ph type="body" sz="quarter" idx="13"/>
          </p:nvPr>
        </p:nvSpPr>
        <p:spPr/>
        <p:txBody>
          <a:bodyPr/>
          <a:lstStyle/>
          <a:p>
            <a:pPr marL="342900" indent="-342900">
              <a:buFont typeface="+mj-lt"/>
              <a:buAutoNum type="arabicPeriod" startAt="4"/>
            </a:pPr>
            <a:r>
              <a:rPr lang="en-US" dirty="0">
                <a:solidFill>
                  <a:schemeClr val="bg1"/>
                </a:solidFill>
              </a:rPr>
              <a:t>Use built residential floor space more efficiently. The focus should be on approaches that stimulate demand for smaller dwellings, especially among households aged over 50.</a:t>
            </a:r>
          </a:p>
          <a:p>
            <a:pPr marL="342900" indent="-342900">
              <a:buFont typeface="+mj-lt"/>
              <a:buAutoNum type="arabicPeriod" startAt="4"/>
            </a:pPr>
            <a:r>
              <a:rPr lang="en-US" dirty="0">
                <a:solidFill>
                  <a:schemeClr val="bg1"/>
                </a:solidFill>
              </a:rPr>
              <a:t>Increase residential mobility among </a:t>
            </a:r>
            <a:r>
              <a:rPr lang="en-US" dirty="0" err="1">
                <a:solidFill>
                  <a:schemeClr val="bg1"/>
                </a:solidFill>
              </a:rPr>
              <a:t>households.Promote</a:t>
            </a:r>
            <a:r>
              <a:rPr lang="en-US" dirty="0">
                <a:solidFill>
                  <a:schemeClr val="bg1"/>
                </a:solidFill>
              </a:rPr>
              <a:t> stronger collaboration, shared learning, and innovation among actors in the planning phase, with greater involvement of experts in sustainable construction and building management.</a:t>
            </a:r>
          </a:p>
          <a:p>
            <a:pPr marL="342900" indent="-342900">
              <a:buFont typeface="+mj-lt"/>
              <a:buAutoNum type="arabicPeriod" startAt="4"/>
            </a:pPr>
            <a:r>
              <a:rPr lang="en-US" dirty="0">
                <a:solidFill>
                  <a:schemeClr val="bg1"/>
                </a:solidFill>
              </a:rPr>
              <a:t>Consider banning building demolitions until a sufficient circular economy framework is in place.</a:t>
            </a:r>
            <a:endParaRPr lang="de-CH" dirty="0">
              <a:solidFill>
                <a:schemeClr val="bg1"/>
              </a:solidFill>
            </a:endParaRPr>
          </a:p>
          <a:p>
            <a:pPr marL="342900" indent="-342900">
              <a:buFont typeface="+mj-lt"/>
              <a:buAutoNum type="arabicPeriod" startAt="4"/>
            </a:pPr>
            <a:endParaRPr lang="de-CH" dirty="0">
              <a:solidFill>
                <a:schemeClr val="bg1"/>
              </a:solidFill>
            </a:endParaRPr>
          </a:p>
          <a:p>
            <a:endParaRPr lang="de-CH" dirty="0"/>
          </a:p>
        </p:txBody>
      </p:sp>
      <p:sp>
        <p:nvSpPr>
          <p:cNvPr id="4" name="Slide Number Placeholder 3">
            <a:extLst>
              <a:ext uri="{FF2B5EF4-FFF2-40B4-BE49-F238E27FC236}">
                <a16:creationId xmlns:a16="http://schemas.microsoft.com/office/drawing/2014/main" id="{D525637D-86FE-08BD-EC20-95177DB4DD4F}"/>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C5CDA4E5-6695-BEBB-8241-731B43D5537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1592210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1DFD3-DF48-605A-2F8E-4888A2261A1E}"/>
              </a:ext>
            </a:extLst>
          </p:cNvPr>
          <p:cNvSpPr>
            <a:spLocks noGrp="1"/>
          </p:cNvSpPr>
          <p:nvPr>
            <p:ph type="title"/>
          </p:nvPr>
        </p:nvSpPr>
        <p:spPr>
          <a:xfrm>
            <a:off x="479425" y="476250"/>
            <a:ext cx="11233150" cy="1044575"/>
          </a:xfrm>
        </p:spPr>
        <p:txBody>
          <a:bodyPr anchor="t">
            <a:normAutofit/>
          </a:bodyPr>
          <a:lstStyle/>
          <a:p>
            <a:r>
              <a:rPr lang="de-CH" dirty="0" err="1"/>
              <a:t>Sustainable</a:t>
            </a:r>
            <a:r>
              <a:rPr lang="de-CH" dirty="0"/>
              <a:t> </a:t>
            </a:r>
            <a:r>
              <a:rPr lang="de-CH" dirty="0" err="1"/>
              <a:t>Behaviour</a:t>
            </a:r>
            <a:endParaRPr lang="de-CH" dirty="0"/>
          </a:p>
        </p:txBody>
      </p:sp>
      <p:sp>
        <p:nvSpPr>
          <p:cNvPr id="3" name="Text Placeholder 2">
            <a:extLst>
              <a:ext uri="{FF2B5EF4-FFF2-40B4-BE49-F238E27FC236}">
                <a16:creationId xmlns:a16="http://schemas.microsoft.com/office/drawing/2014/main" id="{51FB6577-1C42-95E3-395C-1276C973CF19}"/>
              </a:ext>
            </a:extLst>
          </p:cNvPr>
          <p:cNvSpPr>
            <a:spLocks noGrp="1"/>
          </p:cNvSpPr>
          <p:nvPr>
            <p:ph type="body" sz="quarter" idx="13"/>
          </p:nvPr>
        </p:nvSpPr>
        <p:spPr>
          <a:xfrm>
            <a:off x="479425" y="1808162"/>
            <a:ext cx="5400675" cy="4213225"/>
          </a:xfrm>
        </p:spPr>
        <p:txBody>
          <a:bodyPr>
            <a:normAutofit/>
          </a:bodyPr>
          <a:lstStyle/>
          <a:p>
            <a:pPr marL="0" indent="0">
              <a:buNone/>
            </a:pPr>
            <a:r>
              <a:rPr lang="en-US" dirty="0"/>
              <a:t>Public measures as well as technological and </a:t>
            </a:r>
            <a:r>
              <a:rPr lang="en-US" dirty="0" err="1"/>
              <a:t>organisational</a:t>
            </a:r>
            <a:r>
              <a:rPr lang="en-US" dirty="0"/>
              <a:t> innovations, together with promoting a culture of sharing, play a crucial role in the transition of the current economy toward a more sustainable model.</a:t>
            </a:r>
          </a:p>
          <a:p>
            <a:pPr marL="0" indent="0">
              <a:buNone/>
            </a:pPr>
            <a:r>
              <a:rPr lang="en-US" dirty="0"/>
              <a:t>However, the success of this strategy depends heavily on the </a:t>
            </a:r>
            <a:r>
              <a:rPr lang="en-US" dirty="0" err="1"/>
              <a:t>behaviour</a:t>
            </a:r>
            <a:r>
              <a:rPr lang="en-US" dirty="0"/>
              <a:t> of companies and individuals. In doing so, influencing factors such as intrinsic and extrinsic motivation for the </a:t>
            </a:r>
            <a:r>
              <a:rPr lang="en-US" dirty="0" err="1"/>
              <a:t>behaviour</a:t>
            </a:r>
            <a:r>
              <a:rPr lang="en-US" dirty="0"/>
              <a:t> of firms and individuals should be taken into account.</a:t>
            </a:r>
          </a:p>
          <a:p>
            <a:pPr marL="0" indent="0">
              <a:buNone/>
            </a:pPr>
            <a:endParaRPr lang="en-US" dirty="0"/>
          </a:p>
          <a:p>
            <a:pPr marL="0" indent="0" algn="r">
              <a:spcAft>
                <a:spcPts val="600"/>
              </a:spcAft>
              <a:buNone/>
            </a:pPr>
            <a:r>
              <a:rPr lang="de-CH" dirty="0">
                <a:hlinkClick r:id="rId2"/>
              </a:rPr>
              <a:t>NFP 73, </a:t>
            </a:r>
            <a:r>
              <a:rPr lang="de-CH" dirty="0" err="1">
                <a:hlinkClick r:id="rId2"/>
              </a:rPr>
              <a:t>Sustainable</a:t>
            </a:r>
            <a:r>
              <a:rPr lang="de-CH" dirty="0">
                <a:hlinkClick r:id="rId2"/>
              </a:rPr>
              <a:t> </a:t>
            </a:r>
            <a:r>
              <a:rPr lang="de-CH" dirty="0" err="1">
                <a:hlinkClick r:id="rId2"/>
              </a:rPr>
              <a:t>Behaviour</a:t>
            </a:r>
            <a:endParaRPr lang="de-CH" dirty="0"/>
          </a:p>
        </p:txBody>
      </p:sp>
      <p:sp>
        <p:nvSpPr>
          <p:cNvPr id="4" name="Slide Number Placeholder 3">
            <a:extLst>
              <a:ext uri="{FF2B5EF4-FFF2-40B4-BE49-F238E27FC236}">
                <a16:creationId xmlns:a16="http://schemas.microsoft.com/office/drawing/2014/main" id="{C47B08DC-0066-02AB-6E1D-9770759C7751}"/>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28</a:t>
            </a:fld>
            <a:endParaRPr lang="de-CH"/>
          </a:p>
        </p:txBody>
      </p:sp>
      <p:sp>
        <p:nvSpPr>
          <p:cNvPr id="5" name="Footer Placeholder 4">
            <a:extLst>
              <a:ext uri="{FF2B5EF4-FFF2-40B4-BE49-F238E27FC236}">
                <a16:creationId xmlns:a16="http://schemas.microsoft.com/office/drawing/2014/main" id="{09B18F7C-D3CE-28A5-CBF5-56A6F88BE5FA}"/>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6" name="Picture 5">
            <a:extLst>
              <a:ext uri="{FF2B5EF4-FFF2-40B4-BE49-F238E27FC236}">
                <a16:creationId xmlns:a16="http://schemas.microsoft.com/office/drawing/2014/main" id="{715D89C9-51DE-D9E4-68C5-94C65ED43A7E}"/>
              </a:ext>
            </a:extLst>
          </p:cNvPr>
          <p:cNvPicPr>
            <a:picLocks noChangeAspect="1"/>
          </p:cNvPicPr>
          <p:nvPr/>
        </p:nvPicPr>
        <p:blipFill>
          <a:blip r:embed="rId3"/>
          <a:srcRect l="4634" r="2688"/>
          <a:stretch>
            <a:fillRect/>
          </a:stretch>
        </p:blipFill>
        <p:spPr>
          <a:xfrm>
            <a:off x="6044521" y="1808163"/>
            <a:ext cx="5668054" cy="4074468"/>
          </a:xfrm>
          <a:prstGeom prst="rect">
            <a:avLst/>
          </a:prstGeom>
        </p:spPr>
      </p:pic>
    </p:spTree>
    <p:extLst>
      <p:ext uri="{BB962C8B-B14F-4D97-AF65-F5344CB8AC3E}">
        <p14:creationId xmlns:p14="http://schemas.microsoft.com/office/powerpoint/2010/main" val="4345738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EB31D38-C3D2-1173-B72D-77DB2B50E35A}"/>
              </a:ext>
            </a:extLst>
          </p:cNvPr>
          <p:cNvGraphicFramePr>
            <a:graphicFrameLocks noChangeAspect="1"/>
          </p:cNvGraphicFramePr>
          <p:nvPr>
            <p:custDataLst>
              <p:tags r:id="rId1"/>
            </p:custDataLst>
            <p:extLst>
              <p:ext uri="{D42A27DB-BD31-4B8C-83A1-F6EECF244321}">
                <p14:modId xmlns:p14="http://schemas.microsoft.com/office/powerpoint/2010/main" val="244878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EEB31D38-C3D2-1173-B72D-77DB2B50E35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DC0158-2403-0279-8AC4-FA347F5591CA}"/>
              </a:ext>
            </a:extLst>
          </p:cNvPr>
          <p:cNvSpPr>
            <a:spLocks noGrp="1"/>
          </p:cNvSpPr>
          <p:nvPr>
            <p:ph type="title"/>
          </p:nvPr>
        </p:nvSpPr>
        <p:spPr/>
        <p:txBody>
          <a:bodyPr vert="horz"/>
          <a:lstStyle/>
          <a:p>
            <a:r>
              <a:rPr lang="de-CH" dirty="0" err="1"/>
              <a:t>Sustainable</a:t>
            </a:r>
            <a:r>
              <a:rPr lang="de-CH" dirty="0"/>
              <a:t> </a:t>
            </a:r>
            <a:r>
              <a:rPr lang="de-CH" dirty="0" err="1"/>
              <a:t>Behaviour</a:t>
            </a:r>
            <a:r>
              <a:rPr lang="de-CH" dirty="0"/>
              <a:t> – </a:t>
            </a:r>
            <a:r>
              <a:rPr lang="de-CH" dirty="0" err="1"/>
              <a:t>Assignment</a:t>
            </a:r>
            <a:endParaRPr lang="de-CH" dirty="0"/>
          </a:p>
        </p:txBody>
      </p:sp>
      <p:sp>
        <p:nvSpPr>
          <p:cNvPr id="3" name="Slide Number Placeholder 2">
            <a:extLst>
              <a:ext uri="{FF2B5EF4-FFF2-40B4-BE49-F238E27FC236}">
                <a16:creationId xmlns:a16="http://schemas.microsoft.com/office/drawing/2014/main" id="{E42B3E59-A068-C1EE-8725-D72DEEC13592}"/>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4" name="Text Placeholder 3">
            <a:extLst>
              <a:ext uri="{FF2B5EF4-FFF2-40B4-BE49-F238E27FC236}">
                <a16:creationId xmlns:a16="http://schemas.microsoft.com/office/drawing/2014/main" id="{1C85FBF3-FFAF-0198-166D-2C587815FD0C}"/>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CF770A8-C6D3-D0B3-91C2-ECDEF7DC9182}"/>
              </a:ext>
            </a:extLst>
          </p:cNvPr>
          <p:cNvSpPr>
            <a:spLocks noGrp="1"/>
          </p:cNvSpPr>
          <p:nvPr>
            <p:ph type="body" sz="quarter" idx="13"/>
          </p:nvPr>
        </p:nvSpPr>
        <p:spPr/>
        <p:txBody>
          <a:bodyPr/>
          <a:lstStyle/>
          <a:p>
            <a:pPr marL="0" indent="0">
              <a:buNone/>
            </a:pPr>
            <a:r>
              <a:rPr lang="en-US" dirty="0"/>
              <a:t>Which specific recommendations would you derive from the research findings (see the learning module “Sustainable </a:t>
            </a:r>
            <a:r>
              <a:rPr lang="en-US" dirty="0" err="1"/>
              <a:t>Behaviour</a:t>
            </a:r>
            <a:r>
              <a:rPr lang="en-US" dirty="0"/>
              <a:t>”), and to whom would you address these recommendations?</a:t>
            </a:r>
          </a:p>
          <a:p>
            <a:pPr marL="0" indent="0">
              <a:buNone/>
            </a:pPr>
            <a:endParaRPr lang="en-US" dirty="0"/>
          </a:p>
          <a:p>
            <a:pPr marL="0" indent="0">
              <a:buNone/>
            </a:pPr>
            <a:r>
              <a:rPr lang="en-US" dirty="0"/>
              <a:t>Then compare your recommendations with those of the researchers.</a:t>
            </a:r>
          </a:p>
          <a:p>
            <a:pPr marL="0" indent="0">
              <a:buNone/>
            </a:pPr>
            <a:endParaRPr lang="de-CH" dirty="0"/>
          </a:p>
        </p:txBody>
      </p:sp>
      <p:sp>
        <p:nvSpPr>
          <p:cNvPr id="6" name="Text Placeholder 5">
            <a:extLst>
              <a:ext uri="{FF2B5EF4-FFF2-40B4-BE49-F238E27FC236}">
                <a16:creationId xmlns:a16="http://schemas.microsoft.com/office/drawing/2014/main" id="{FF5A09C4-ACFD-28DC-7DC8-2874672C560A}"/>
              </a:ext>
            </a:extLst>
          </p:cNvPr>
          <p:cNvSpPr>
            <a:spLocks noGrp="1"/>
          </p:cNvSpPr>
          <p:nvPr>
            <p:ph type="body" sz="quarter" idx="12"/>
          </p:nvPr>
        </p:nvSpPr>
        <p:spPr/>
        <p:txBody>
          <a:bodyPr/>
          <a:lstStyle/>
          <a:p>
            <a:r>
              <a:rPr lang="de-CH" dirty="0" err="1"/>
              <a:t>Assignment</a:t>
            </a:r>
            <a:endParaRPr lang="de-CH" dirty="0"/>
          </a:p>
        </p:txBody>
      </p:sp>
      <p:sp>
        <p:nvSpPr>
          <p:cNvPr id="8" name="Footer Placeholder 7">
            <a:extLst>
              <a:ext uri="{FF2B5EF4-FFF2-40B4-BE49-F238E27FC236}">
                <a16:creationId xmlns:a16="http://schemas.microsoft.com/office/drawing/2014/main" id="{A1FD6CD1-8BF5-07C0-23A6-15FAFA3D5018}"/>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3074" name="Picture 2">
            <a:extLst>
              <a:ext uri="{FF2B5EF4-FFF2-40B4-BE49-F238E27FC236}">
                <a16:creationId xmlns:a16="http://schemas.microsoft.com/office/drawing/2014/main" id="{7EB3883F-0590-34A9-08CE-2C82C9DEADA0}"/>
              </a:ext>
            </a:extLst>
          </p:cNvPr>
          <p:cNvPicPr>
            <a:picLocks noGrp="1" noChangeAspect="1" noChangeArrowheads="1"/>
          </p:cNvPicPr>
          <p:nvPr>
            <p:ph type="pic" sz="quarter" idx="16"/>
          </p:nvPr>
        </p:nvPicPr>
        <p:blipFill>
          <a:blip r:embed="rId5">
            <a:extLst>
              <a:ext uri="{28A0092B-C50C-407E-A947-70E740481C1C}">
                <a14:useLocalDpi xmlns:a14="http://schemas.microsoft.com/office/drawing/2010/main" val="0"/>
              </a:ext>
            </a:extLst>
          </a:blip>
          <a:srcRect t="9304" b="9304"/>
          <a:stretch>
            <a:fillRect/>
          </a:stretch>
        </p:blipFill>
        <p:spPr bwMode="auto">
          <a:xfrm>
            <a:off x="3935413" y="1808163"/>
            <a:ext cx="7777162" cy="4213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6487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arning </a:t>
            </a:r>
            <a:r>
              <a:rPr lang="de-CH" dirty="0" err="1"/>
              <a:t>Objectives</a:t>
            </a:r>
            <a:endParaRPr lang="de-CH" dirty="0"/>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en-US" dirty="0"/>
              <a:t>The learner …</a:t>
            </a:r>
          </a:p>
          <a:p>
            <a:r>
              <a:rPr lang="en-US" dirty="0"/>
              <a:t>knows the basic policy instruments for promoting a sustainable economy,</a:t>
            </a:r>
          </a:p>
          <a:p>
            <a:r>
              <a:rPr lang="en-US" dirty="0"/>
              <a:t>understands how policy recommendations can be derived from research projects,</a:t>
            </a:r>
          </a:p>
          <a:p>
            <a:r>
              <a:rPr lang="en-US" dirty="0"/>
              <a:t>can name and explain the eight general policy recommendations of NFP 73,</a:t>
            </a:r>
          </a:p>
          <a:p>
            <a:r>
              <a:rPr lang="en-US" dirty="0"/>
              <a:t>can name and explain five focus-area or sector-specific policy recommendations, and</a:t>
            </a:r>
          </a:p>
          <a:p>
            <a:r>
              <a:rPr lang="en-US" dirty="0"/>
              <a:t>reflects on the possibilities and limits of policy recommendations made by researchers.</a:t>
            </a:r>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a:xfrm>
            <a:off x="1544805" y="6385781"/>
            <a:ext cx="4114800" cy="252000"/>
          </a:xfrm>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7B3815-A958-FD8E-1FD5-DF264B234370}"/>
              </a:ext>
            </a:extLst>
          </p:cNvPr>
          <p:cNvGraphicFramePr>
            <a:graphicFrameLocks noChangeAspect="1"/>
          </p:cNvGraphicFramePr>
          <p:nvPr>
            <p:custDataLst>
              <p:tags r:id="rId1"/>
            </p:custDataLst>
            <p:extLst>
              <p:ext uri="{D42A27DB-BD31-4B8C-83A1-F6EECF244321}">
                <p14:modId xmlns:p14="http://schemas.microsoft.com/office/powerpoint/2010/main" val="167932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37B3815-A958-FD8E-1FD5-DF264B2343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686BDA-EBA5-9652-135E-4A387A67A749}"/>
              </a:ext>
            </a:extLst>
          </p:cNvPr>
          <p:cNvSpPr>
            <a:spLocks noGrp="1"/>
          </p:cNvSpPr>
          <p:nvPr>
            <p:ph type="title"/>
          </p:nvPr>
        </p:nvSpPr>
        <p:spPr/>
        <p:txBody>
          <a:bodyPr vert="horz"/>
          <a:lstStyle/>
          <a:p>
            <a:r>
              <a:rPr lang="de-CH" dirty="0" err="1"/>
              <a:t>Sustainable</a:t>
            </a:r>
            <a:r>
              <a:rPr lang="de-CH" dirty="0"/>
              <a:t> </a:t>
            </a:r>
            <a:r>
              <a:rPr lang="de-CH" dirty="0" err="1"/>
              <a:t>Behaviour</a:t>
            </a:r>
            <a:r>
              <a:rPr lang="de-CH" dirty="0"/>
              <a:t> – </a:t>
            </a:r>
            <a:r>
              <a:rPr lang="de-CH" dirty="0" err="1"/>
              <a:t>Recommendation</a:t>
            </a:r>
            <a:r>
              <a:rPr lang="de-CH" dirty="0"/>
              <a:t> I</a:t>
            </a:r>
          </a:p>
        </p:txBody>
      </p:sp>
      <p:sp>
        <p:nvSpPr>
          <p:cNvPr id="3" name="Text Placeholder 2">
            <a:extLst>
              <a:ext uri="{FF2B5EF4-FFF2-40B4-BE49-F238E27FC236}">
                <a16:creationId xmlns:a16="http://schemas.microsoft.com/office/drawing/2014/main" id="{2C87AEF5-DC22-924C-3D1D-C899DBE0C648}"/>
              </a:ext>
            </a:extLst>
          </p:cNvPr>
          <p:cNvSpPr>
            <a:spLocks noGrp="1"/>
          </p:cNvSpPr>
          <p:nvPr>
            <p:ph type="body" sz="quarter" idx="13"/>
          </p:nvPr>
        </p:nvSpPr>
        <p:spPr/>
        <p:txBody>
          <a:bodyPr/>
          <a:lstStyle/>
          <a:p>
            <a:pPr marL="342900" indent="-342900">
              <a:buFont typeface="+mj-lt"/>
              <a:buAutoNum type="arabicPeriod"/>
            </a:pPr>
            <a:r>
              <a:rPr lang="en-US" dirty="0">
                <a:solidFill>
                  <a:schemeClr val="bg1"/>
                </a:solidFill>
              </a:rPr>
              <a:t>Citizens’ environmental identity should be strengthened through long-term, nature-based education </a:t>
            </a:r>
            <a:r>
              <a:rPr lang="en-US" dirty="0" err="1">
                <a:solidFill>
                  <a:schemeClr val="bg1"/>
                </a:solidFill>
              </a:rPr>
              <a:t>programmes</a:t>
            </a:r>
            <a:r>
              <a:rPr lang="en-US" dirty="0">
                <a:solidFill>
                  <a:schemeClr val="bg1"/>
                </a:solidFill>
              </a:rPr>
              <a:t> starting as early as possible, so that they develop a close connection to the natural environment.</a:t>
            </a:r>
          </a:p>
          <a:p>
            <a:pPr marL="342900" indent="-342900">
              <a:buFont typeface="+mj-lt"/>
              <a:buAutoNum type="arabicPeriod"/>
            </a:pPr>
            <a:r>
              <a:rPr lang="en-US" dirty="0">
                <a:solidFill>
                  <a:schemeClr val="bg1"/>
                </a:solidFill>
              </a:rPr>
              <a:t>Environmentally friendly messages that prompt citizens to take action should be repeated as often as possible and placed as close as possible to consumers’ decision points.</a:t>
            </a:r>
          </a:p>
          <a:p>
            <a:pPr marL="342900" indent="-342900">
              <a:buFont typeface="+mj-lt"/>
              <a:buAutoNum type="arabicPeriod"/>
            </a:pPr>
            <a:r>
              <a:rPr lang="en-US" dirty="0">
                <a:solidFill>
                  <a:schemeClr val="bg1"/>
                </a:solidFill>
              </a:rPr>
              <a:t>Policymakers should support platform providers by promoting a culture of sharing and clearly communicating environmental benefits.</a:t>
            </a:r>
          </a:p>
          <a:p>
            <a:pPr marL="342900" indent="-342900">
              <a:buFont typeface="+mj-lt"/>
              <a:buAutoNum type="arabicPeriod"/>
            </a:pPr>
            <a:r>
              <a:rPr lang="en-US" dirty="0">
                <a:solidFill>
                  <a:schemeClr val="bg1"/>
                </a:solidFill>
              </a:rPr>
              <a:t>Political decision-makers should encourage consumers to reflect on their (often unconscious) moral licensing </a:t>
            </a:r>
            <a:r>
              <a:rPr lang="en-US" dirty="0" err="1">
                <a:solidFill>
                  <a:schemeClr val="bg1"/>
                </a:solidFill>
              </a:rPr>
              <a:t>behaviour</a:t>
            </a:r>
            <a:r>
              <a:rPr lang="en-US" dirty="0">
                <a:solidFill>
                  <a:schemeClr val="bg1"/>
                </a:solidFill>
              </a:rPr>
              <a:t>—for example, when someone who regularly uses public transport feels less uneasy about taking a long-haul flight.</a:t>
            </a:r>
            <a:endParaRPr lang="de-CH" dirty="0"/>
          </a:p>
        </p:txBody>
      </p:sp>
      <p:sp>
        <p:nvSpPr>
          <p:cNvPr id="4" name="Slide Number Placeholder 3">
            <a:extLst>
              <a:ext uri="{FF2B5EF4-FFF2-40B4-BE49-F238E27FC236}">
                <a16:creationId xmlns:a16="http://schemas.microsoft.com/office/drawing/2014/main" id="{61A2E949-DDD1-B9CE-441A-8ABA5DD760A6}"/>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CA9C745D-6B87-36A1-BE8C-B32EE17803D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883380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A322C-931F-46E1-5DD3-06452322131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E37B64-BBC3-8910-4D85-4F2D37A2DCE9}"/>
              </a:ext>
            </a:extLst>
          </p:cNvPr>
          <p:cNvGraphicFramePr>
            <a:graphicFrameLocks noChangeAspect="1"/>
          </p:cNvGraphicFramePr>
          <p:nvPr>
            <p:custDataLst>
              <p:tags r:id="rId1"/>
            </p:custDataLst>
            <p:extLst>
              <p:ext uri="{D42A27DB-BD31-4B8C-83A1-F6EECF244321}">
                <p14:modId xmlns:p14="http://schemas.microsoft.com/office/powerpoint/2010/main" val="322262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9E37B64-BBC3-8910-4D85-4F2D37A2DCE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79F37D-4762-6C85-1ADA-4208EDD35DC6}"/>
              </a:ext>
            </a:extLst>
          </p:cNvPr>
          <p:cNvSpPr>
            <a:spLocks noGrp="1"/>
          </p:cNvSpPr>
          <p:nvPr>
            <p:ph type="title"/>
          </p:nvPr>
        </p:nvSpPr>
        <p:spPr/>
        <p:txBody>
          <a:bodyPr vert="horz"/>
          <a:lstStyle/>
          <a:p>
            <a:r>
              <a:rPr lang="de-CH" dirty="0" err="1"/>
              <a:t>Sustainable</a:t>
            </a:r>
            <a:r>
              <a:rPr lang="de-CH" dirty="0"/>
              <a:t> </a:t>
            </a:r>
            <a:r>
              <a:rPr lang="de-CH" dirty="0" err="1"/>
              <a:t>Behaviour</a:t>
            </a:r>
            <a:r>
              <a:rPr lang="de-CH" dirty="0"/>
              <a:t> – </a:t>
            </a:r>
            <a:r>
              <a:rPr lang="de-CH" dirty="0" err="1"/>
              <a:t>Recommendation</a:t>
            </a:r>
            <a:r>
              <a:rPr lang="de-CH" dirty="0"/>
              <a:t> II</a:t>
            </a:r>
          </a:p>
        </p:txBody>
      </p:sp>
      <p:sp>
        <p:nvSpPr>
          <p:cNvPr id="3" name="Text Placeholder 2">
            <a:extLst>
              <a:ext uri="{FF2B5EF4-FFF2-40B4-BE49-F238E27FC236}">
                <a16:creationId xmlns:a16="http://schemas.microsoft.com/office/drawing/2014/main" id="{6C917B02-B29B-D334-22E8-3564D51966E4}"/>
              </a:ext>
            </a:extLst>
          </p:cNvPr>
          <p:cNvSpPr>
            <a:spLocks noGrp="1"/>
          </p:cNvSpPr>
          <p:nvPr>
            <p:ph type="body" sz="quarter" idx="13"/>
          </p:nvPr>
        </p:nvSpPr>
        <p:spPr/>
        <p:txBody>
          <a:bodyPr/>
          <a:lstStyle/>
          <a:p>
            <a:pPr marL="342900" indent="-342900">
              <a:buFont typeface="+mj-lt"/>
              <a:buAutoNum type="arabicPeriod" startAt="5"/>
            </a:pPr>
            <a:r>
              <a:rPr lang="en-US" dirty="0">
                <a:solidFill>
                  <a:schemeClr val="bg1"/>
                </a:solidFill>
              </a:rPr>
              <a:t>Providers of peer-to-peer exchange platforms should adapt their services in order to attract more users and reduce rebound </a:t>
            </a:r>
            <a:r>
              <a:rPr lang="en-US" dirty="0" err="1">
                <a:solidFill>
                  <a:schemeClr val="bg1"/>
                </a:solidFill>
              </a:rPr>
              <a:t>behaviour</a:t>
            </a:r>
            <a:r>
              <a:rPr lang="en-US" dirty="0">
                <a:solidFill>
                  <a:schemeClr val="bg1"/>
                </a:solidFill>
              </a:rPr>
              <a:t>.</a:t>
            </a:r>
          </a:p>
          <a:p>
            <a:pPr marL="342900" indent="-342900">
              <a:buFont typeface="+mj-lt"/>
              <a:buAutoNum type="arabicPeriod" startAt="5"/>
            </a:pPr>
            <a:r>
              <a:rPr lang="en-US" dirty="0">
                <a:solidFill>
                  <a:schemeClr val="bg1"/>
                </a:solidFill>
              </a:rPr>
              <a:t>Promote the use of natural resources by private households through measures that ensure sustainable goods and services are no more expensive than unsustainable ones, and by providing information about sustainable goods and services and the impacts of </a:t>
            </a:r>
            <a:r>
              <a:rPr lang="en-US" dirty="0" err="1">
                <a:solidFill>
                  <a:schemeClr val="bg1"/>
                </a:solidFill>
              </a:rPr>
              <a:t>behavioural</a:t>
            </a:r>
            <a:r>
              <a:rPr lang="en-US" dirty="0">
                <a:solidFill>
                  <a:schemeClr val="bg1"/>
                </a:solidFill>
              </a:rPr>
              <a:t> changes and policy measures.</a:t>
            </a:r>
          </a:p>
          <a:p>
            <a:pPr marL="342900" indent="-342900">
              <a:buFont typeface="+mj-lt"/>
              <a:buAutoNum type="arabicPeriod" startAt="5"/>
            </a:pPr>
            <a:r>
              <a:rPr lang="en-US" dirty="0">
                <a:solidFill>
                  <a:schemeClr val="bg1"/>
                </a:solidFill>
              </a:rPr>
              <a:t>Ensure that measures are effective in the target </a:t>
            </a:r>
            <a:r>
              <a:rPr lang="en-US" dirty="0" err="1">
                <a:solidFill>
                  <a:schemeClr val="bg1"/>
                </a:solidFill>
              </a:rPr>
              <a:t>behavioural</a:t>
            </a:r>
            <a:r>
              <a:rPr lang="en-US" dirty="0">
                <a:solidFill>
                  <a:schemeClr val="bg1"/>
                </a:solidFill>
              </a:rPr>
              <a:t> domain and activate consumers’ social and environmental identities. It would therefore be useful to carry out careful ex ante analyses of the most suitable pathways for </a:t>
            </a:r>
            <a:r>
              <a:rPr lang="en-US" dirty="0" err="1">
                <a:solidFill>
                  <a:schemeClr val="bg1"/>
                </a:solidFill>
              </a:rPr>
              <a:t>behavioural</a:t>
            </a:r>
            <a:r>
              <a:rPr lang="en-US" dirty="0">
                <a:solidFill>
                  <a:schemeClr val="bg1"/>
                </a:solidFill>
              </a:rPr>
              <a:t> change in both the target and secondary domains. Measures should be designed so that several perceived-as-similar domains are addressed, the effort required for environmentally friendly </a:t>
            </a:r>
            <a:r>
              <a:rPr lang="en-US" dirty="0" err="1">
                <a:solidFill>
                  <a:schemeClr val="bg1"/>
                </a:solidFill>
              </a:rPr>
              <a:t>behaviour</a:t>
            </a:r>
            <a:r>
              <a:rPr lang="en-US" dirty="0">
                <a:solidFill>
                  <a:schemeClr val="bg1"/>
                </a:solidFill>
              </a:rPr>
              <a:t> is perceived as low, and relevant information about the environmental impacts of </a:t>
            </a:r>
            <a:r>
              <a:rPr lang="en-US" dirty="0" err="1">
                <a:solidFill>
                  <a:schemeClr val="bg1"/>
                </a:solidFill>
              </a:rPr>
              <a:t>behavioural</a:t>
            </a:r>
            <a:r>
              <a:rPr lang="en-US" dirty="0">
                <a:solidFill>
                  <a:schemeClr val="bg1"/>
                </a:solidFill>
              </a:rPr>
              <a:t> changes is available.</a:t>
            </a:r>
            <a:endParaRPr lang="de-CH" dirty="0">
              <a:solidFill>
                <a:schemeClr val="bg1"/>
              </a:solidFill>
            </a:endParaRPr>
          </a:p>
          <a:p>
            <a:endParaRPr lang="de-CH" dirty="0"/>
          </a:p>
        </p:txBody>
      </p:sp>
      <p:sp>
        <p:nvSpPr>
          <p:cNvPr id="4" name="Slide Number Placeholder 3">
            <a:extLst>
              <a:ext uri="{FF2B5EF4-FFF2-40B4-BE49-F238E27FC236}">
                <a16:creationId xmlns:a16="http://schemas.microsoft.com/office/drawing/2014/main" id="{21A7309E-A0CA-FE9F-8DAD-42D597B375A9}"/>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980BABEF-87C0-9F5A-DADF-C0F9FFEF323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26443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527F5-EEE4-9D45-1451-BB4374ED6AC5}"/>
              </a:ext>
            </a:extLst>
          </p:cNvPr>
          <p:cNvSpPr>
            <a:spLocks noGrp="1"/>
          </p:cNvSpPr>
          <p:nvPr>
            <p:ph type="title"/>
          </p:nvPr>
        </p:nvSpPr>
        <p:spPr/>
        <p:txBody>
          <a:bodyPr/>
          <a:lstStyle/>
          <a:p>
            <a:r>
              <a:rPr lang="de-CH" dirty="0"/>
              <a:t>Forest Management</a:t>
            </a:r>
          </a:p>
        </p:txBody>
      </p:sp>
      <p:sp>
        <p:nvSpPr>
          <p:cNvPr id="3" name="Text Placeholder 2">
            <a:extLst>
              <a:ext uri="{FF2B5EF4-FFF2-40B4-BE49-F238E27FC236}">
                <a16:creationId xmlns:a16="http://schemas.microsoft.com/office/drawing/2014/main" id="{30CE40F9-A5F1-4FCC-3627-EC34C0C3045B}"/>
              </a:ext>
            </a:extLst>
          </p:cNvPr>
          <p:cNvSpPr>
            <a:spLocks noGrp="1"/>
          </p:cNvSpPr>
          <p:nvPr>
            <p:ph type="body" sz="quarter" idx="13"/>
          </p:nvPr>
        </p:nvSpPr>
        <p:spPr>
          <a:xfrm>
            <a:off x="479425" y="1836666"/>
            <a:ext cx="5808359" cy="4213225"/>
          </a:xfrm>
        </p:spPr>
        <p:txBody>
          <a:bodyPr/>
          <a:lstStyle/>
          <a:p>
            <a:pPr marL="0" indent="0">
              <a:buNone/>
            </a:pPr>
            <a:r>
              <a:rPr lang="en-US" dirty="0"/>
              <a:t>Forests provide a wide range of ecosystem services (FES): they produce timber, mitigate climate change, protect against natural hazards, conserve biodiversity, and offer recreational opportunities.</a:t>
            </a:r>
          </a:p>
          <a:p>
            <a:pPr marL="0" indent="0">
              <a:buNone/>
            </a:pPr>
            <a:r>
              <a:rPr lang="en-US" dirty="0"/>
              <a:t>Forests therefore deliver ecological, economic, and social benefits. However, current global challenges such as climate change, biodiversity loss, the energy crisis, and the transition to a sustainable economy are increasing demand for forest ecosystem services. Appropriate policy instruments are required to ensure the sustainable provision of a wide range of these services.</a:t>
            </a:r>
          </a:p>
          <a:p>
            <a:pPr marL="0" indent="0" algn="l">
              <a:buNone/>
            </a:pPr>
            <a:r>
              <a:rPr lang="de-CH" dirty="0"/>
              <a:t>. </a:t>
            </a:r>
          </a:p>
          <a:p>
            <a:pPr marL="0" indent="0" algn="r">
              <a:buNone/>
            </a:pPr>
            <a:r>
              <a:rPr lang="de-CH" dirty="0">
                <a:hlinkClick r:id="rId2"/>
              </a:rPr>
              <a:t>NFP 73, Forest Management</a:t>
            </a:r>
            <a:endParaRPr lang="de-CH" dirty="0"/>
          </a:p>
          <a:p>
            <a:pPr marL="0" indent="0" algn="r">
              <a:buNone/>
            </a:pPr>
            <a:endParaRPr lang="de-CH" dirty="0"/>
          </a:p>
        </p:txBody>
      </p:sp>
      <p:sp>
        <p:nvSpPr>
          <p:cNvPr id="4" name="Slide Number Placeholder 3">
            <a:extLst>
              <a:ext uri="{FF2B5EF4-FFF2-40B4-BE49-F238E27FC236}">
                <a16:creationId xmlns:a16="http://schemas.microsoft.com/office/drawing/2014/main" id="{B8F3C7D6-5DF9-D31D-5B60-3A994621DCBC}"/>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4652B3B1-7F79-F200-8B9F-1D6E65E866F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large stack of cut logs&#10;&#10;AI-generated content may be incorrect.">
            <a:extLst>
              <a:ext uri="{FF2B5EF4-FFF2-40B4-BE49-F238E27FC236}">
                <a16:creationId xmlns:a16="http://schemas.microsoft.com/office/drawing/2014/main" id="{B9D052B2-8043-AB1F-C21A-EBD6CB4FCDE0}"/>
              </a:ext>
            </a:extLst>
          </p:cNvPr>
          <p:cNvPicPr>
            <a:picLocks noChangeAspect="1"/>
          </p:cNvPicPr>
          <p:nvPr/>
        </p:nvPicPr>
        <p:blipFill>
          <a:blip r:embed="rId3">
            <a:extLst>
              <a:ext uri="{28A0092B-C50C-407E-A947-70E740481C1C}">
                <a14:useLocalDpi xmlns:a14="http://schemas.microsoft.com/office/drawing/2010/main" val="0"/>
              </a:ext>
            </a:extLst>
          </a:blip>
          <a:srcRect l="8318" r="4008"/>
          <a:stretch>
            <a:fillRect/>
          </a:stretch>
        </p:blipFill>
        <p:spPr>
          <a:xfrm>
            <a:off x="6647343" y="1814294"/>
            <a:ext cx="5544657" cy="4207094"/>
          </a:xfrm>
          <a:prstGeom prst="rect">
            <a:avLst/>
          </a:prstGeom>
        </p:spPr>
      </p:pic>
    </p:spTree>
    <p:extLst>
      <p:ext uri="{BB962C8B-B14F-4D97-AF65-F5344CB8AC3E}">
        <p14:creationId xmlns:p14="http://schemas.microsoft.com/office/powerpoint/2010/main" val="21594894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4E554FD-6578-C7B8-A32D-4C7F3AC07671}"/>
              </a:ext>
            </a:extLst>
          </p:cNvPr>
          <p:cNvGraphicFramePr>
            <a:graphicFrameLocks noChangeAspect="1"/>
          </p:cNvGraphicFramePr>
          <p:nvPr>
            <p:custDataLst>
              <p:tags r:id="rId1"/>
            </p:custDataLst>
            <p:extLst>
              <p:ext uri="{D42A27DB-BD31-4B8C-83A1-F6EECF244321}">
                <p14:modId xmlns:p14="http://schemas.microsoft.com/office/powerpoint/2010/main" val="1110179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04E554FD-6578-C7B8-A32D-4C7F3AC0767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D46471-DE0C-6E16-B553-E0F16B3F0640}"/>
              </a:ext>
            </a:extLst>
          </p:cNvPr>
          <p:cNvSpPr>
            <a:spLocks noGrp="1"/>
          </p:cNvSpPr>
          <p:nvPr>
            <p:ph type="title"/>
          </p:nvPr>
        </p:nvSpPr>
        <p:spPr/>
        <p:txBody>
          <a:bodyPr vert="horz"/>
          <a:lstStyle/>
          <a:p>
            <a:r>
              <a:rPr lang="de-CH" dirty="0"/>
              <a:t>Forest Management – </a:t>
            </a:r>
            <a:r>
              <a:rPr lang="de-CH" dirty="0" err="1"/>
              <a:t>Assignment</a:t>
            </a:r>
            <a:endParaRPr lang="de-CH" dirty="0"/>
          </a:p>
        </p:txBody>
      </p:sp>
      <p:sp>
        <p:nvSpPr>
          <p:cNvPr id="3" name="Slide Number Placeholder 2">
            <a:extLst>
              <a:ext uri="{FF2B5EF4-FFF2-40B4-BE49-F238E27FC236}">
                <a16:creationId xmlns:a16="http://schemas.microsoft.com/office/drawing/2014/main" id="{C5D12D0C-F000-47F8-689D-09320D00E4B0}"/>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4" name="Text Placeholder 3">
            <a:extLst>
              <a:ext uri="{FF2B5EF4-FFF2-40B4-BE49-F238E27FC236}">
                <a16:creationId xmlns:a16="http://schemas.microsoft.com/office/drawing/2014/main" id="{D5DA46F6-E21B-1A50-C170-22354A23BC82}"/>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111C8C73-DB07-72F6-1BC3-013C5C7DC422}"/>
              </a:ext>
            </a:extLst>
          </p:cNvPr>
          <p:cNvSpPr>
            <a:spLocks noGrp="1"/>
          </p:cNvSpPr>
          <p:nvPr>
            <p:ph type="body" sz="quarter" idx="13"/>
          </p:nvPr>
        </p:nvSpPr>
        <p:spPr/>
        <p:txBody>
          <a:bodyPr/>
          <a:lstStyle/>
          <a:p>
            <a:pPr marL="0" indent="0">
              <a:buNone/>
            </a:pPr>
            <a:r>
              <a:rPr lang="en-US" dirty="0"/>
              <a:t>Which specific recommendations would you derive from the research findings (see the learning module “Forest Management”), and to whom would you address these recommendations?</a:t>
            </a:r>
          </a:p>
          <a:p>
            <a:pPr marL="0" indent="0">
              <a:buNone/>
            </a:pPr>
            <a:endParaRPr lang="en-US" dirty="0"/>
          </a:p>
          <a:p>
            <a:pPr marL="0" indent="0">
              <a:buNone/>
            </a:pPr>
            <a:r>
              <a:rPr lang="en-US" dirty="0"/>
              <a:t>Then compare your recommendations with those of the researchers.</a:t>
            </a:r>
          </a:p>
          <a:p>
            <a:pPr marL="0" indent="0">
              <a:buNone/>
            </a:pPr>
            <a:endParaRPr lang="de-CH" dirty="0"/>
          </a:p>
        </p:txBody>
      </p:sp>
      <p:sp>
        <p:nvSpPr>
          <p:cNvPr id="6" name="Text Placeholder 5">
            <a:extLst>
              <a:ext uri="{FF2B5EF4-FFF2-40B4-BE49-F238E27FC236}">
                <a16:creationId xmlns:a16="http://schemas.microsoft.com/office/drawing/2014/main" id="{AB89E7DD-E0EE-1ACC-3E60-1949ED5E89C3}"/>
              </a:ext>
            </a:extLst>
          </p:cNvPr>
          <p:cNvSpPr>
            <a:spLocks noGrp="1"/>
          </p:cNvSpPr>
          <p:nvPr>
            <p:ph type="body" sz="quarter" idx="12"/>
          </p:nvPr>
        </p:nvSpPr>
        <p:spPr/>
        <p:txBody>
          <a:bodyPr/>
          <a:lstStyle/>
          <a:p>
            <a:r>
              <a:rPr lang="de-CH" dirty="0" err="1"/>
              <a:t>Assignment</a:t>
            </a:r>
            <a:endParaRPr lang="de-CH" dirty="0"/>
          </a:p>
        </p:txBody>
      </p:sp>
      <p:sp>
        <p:nvSpPr>
          <p:cNvPr id="8" name="Footer Placeholder 7">
            <a:extLst>
              <a:ext uri="{FF2B5EF4-FFF2-40B4-BE49-F238E27FC236}">
                <a16:creationId xmlns:a16="http://schemas.microsoft.com/office/drawing/2014/main" id="{DBB7C39D-FB8B-FA99-4394-AF4201A8B0A4}"/>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6" name="object 7">
            <a:extLst>
              <a:ext uri="{FF2B5EF4-FFF2-40B4-BE49-F238E27FC236}">
                <a16:creationId xmlns:a16="http://schemas.microsoft.com/office/drawing/2014/main" id="{1C471DAD-B68A-1DE2-14D5-ED5B43D2C123}"/>
              </a:ext>
            </a:extLst>
          </p:cNvPr>
          <p:cNvPicPr>
            <a:picLocks noGrp="1"/>
          </p:cNvPicPr>
          <p:nvPr>
            <p:ph type="pic" sz="quarter" idx="16"/>
          </p:nvPr>
        </p:nvPicPr>
        <p:blipFill>
          <a:blip r:embed="rId5" cstate="print"/>
          <a:srcRect t="9369" b="9369"/>
          <a:stretch>
            <a:fillRect/>
          </a:stretch>
        </p:blipFill>
        <p:spPr>
          <a:xfrm>
            <a:off x="3935413" y="1808163"/>
            <a:ext cx="7777162" cy="4213225"/>
          </a:xfrm>
          <a:prstGeom prst="rect">
            <a:avLst/>
          </a:prstGeom>
        </p:spPr>
      </p:pic>
    </p:spTree>
    <p:extLst>
      <p:ext uri="{BB962C8B-B14F-4D97-AF65-F5344CB8AC3E}">
        <p14:creationId xmlns:p14="http://schemas.microsoft.com/office/powerpoint/2010/main" val="7400295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06E7F9-9D99-C132-4511-12777D3AB5A4}"/>
              </a:ext>
            </a:extLst>
          </p:cNvPr>
          <p:cNvGraphicFramePr>
            <a:graphicFrameLocks noChangeAspect="1"/>
          </p:cNvGraphicFramePr>
          <p:nvPr>
            <p:custDataLst>
              <p:tags r:id="rId1"/>
            </p:custDataLst>
            <p:extLst>
              <p:ext uri="{D42A27DB-BD31-4B8C-83A1-F6EECF244321}">
                <p14:modId xmlns:p14="http://schemas.microsoft.com/office/powerpoint/2010/main" val="9038811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D06E7F9-9D99-C132-4511-12777D3AB5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6D5895-E3D7-6503-4C49-85DA58CF7E61}"/>
              </a:ext>
            </a:extLst>
          </p:cNvPr>
          <p:cNvSpPr>
            <a:spLocks noGrp="1"/>
          </p:cNvSpPr>
          <p:nvPr>
            <p:ph type="title"/>
          </p:nvPr>
        </p:nvSpPr>
        <p:spPr/>
        <p:txBody>
          <a:bodyPr vert="horz"/>
          <a:lstStyle/>
          <a:p>
            <a:r>
              <a:rPr lang="de-CH" dirty="0"/>
              <a:t>Forest Management – </a:t>
            </a:r>
            <a:r>
              <a:rPr lang="de-CH" dirty="0" err="1"/>
              <a:t>Recommendations</a:t>
            </a:r>
            <a:endParaRPr lang="de-CH" dirty="0"/>
          </a:p>
        </p:txBody>
      </p:sp>
      <p:sp>
        <p:nvSpPr>
          <p:cNvPr id="3" name="Text Placeholder 2">
            <a:extLst>
              <a:ext uri="{FF2B5EF4-FFF2-40B4-BE49-F238E27FC236}">
                <a16:creationId xmlns:a16="http://schemas.microsoft.com/office/drawing/2014/main" id="{BF8A2A52-9C46-DC6A-3EC7-720D12EF3EA0}"/>
              </a:ext>
            </a:extLst>
          </p:cNvPr>
          <p:cNvSpPr>
            <a:spLocks noGrp="1"/>
          </p:cNvSpPr>
          <p:nvPr>
            <p:ph type="body" sz="quarter" idx="13"/>
          </p:nvPr>
        </p:nvSpPr>
        <p:spPr/>
        <p:txBody>
          <a:bodyPr/>
          <a:lstStyle/>
          <a:p>
            <a:pPr marL="342900" indent="-342900">
              <a:buFont typeface="+mj-lt"/>
              <a:buAutoNum type="arabicPeriod"/>
            </a:pPr>
            <a:r>
              <a:rPr lang="en-US" dirty="0"/>
              <a:t>Awareness of forest ecosystem services (FES) and their complex interactions must be raised among the general public, political decision-makers, forest owners, and forest managers. This requires making the </a:t>
            </a:r>
            <a:r>
              <a:rPr lang="en-US" b="1" dirty="0"/>
              <a:t>benefits of FES and their trade-offs more visible</a:t>
            </a:r>
            <a:r>
              <a:rPr lang="en-US" dirty="0"/>
              <a:t>—for example by increasing cost transparency, clarifying property rights, and strengthening the polluter-pays principle.</a:t>
            </a:r>
          </a:p>
          <a:p>
            <a:pPr marL="342900" indent="-342900">
              <a:buFont typeface="+mj-lt"/>
              <a:buAutoNum type="arabicPeriod"/>
            </a:pPr>
            <a:r>
              <a:rPr lang="en-US" dirty="0"/>
              <a:t>Forest policy should set </a:t>
            </a:r>
            <a:r>
              <a:rPr lang="en-US" b="1" dirty="0"/>
              <a:t>ambitious targets </a:t>
            </a:r>
            <a:r>
              <a:rPr lang="en-US" dirty="0"/>
              <a:t>for all key forest ecosystem services and provide guidelines for </a:t>
            </a:r>
            <a:r>
              <a:rPr lang="en-US" dirty="0" err="1"/>
              <a:t>prioritisation</a:t>
            </a:r>
            <a:r>
              <a:rPr lang="en-US" dirty="0"/>
              <a:t> in order to actively address conflicts and exploit synergies. This requires </a:t>
            </a:r>
            <a:r>
              <a:rPr lang="en-US" b="1" dirty="0"/>
              <a:t>cross-sectoral coordination</a:t>
            </a:r>
            <a:r>
              <a:rPr lang="en-US" dirty="0"/>
              <a:t> of objectives.</a:t>
            </a:r>
          </a:p>
          <a:p>
            <a:pPr marL="342900" indent="-342900">
              <a:buFont typeface="+mj-lt"/>
              <a:buAutoNum type="arabicPeriod"/>
            </a:pPr>
            <a:r>
              <a:rPr lang="en-US" dirty="0"/>
              <a:t>Forest-policy instruments should be based on a policy mix and coordinated with other sectors. Within a legal framework, clear rules must be established for </a:t>
            </a:r>
            <a:r>
              <a:rPr lang="en-US" b="1" dirty="0"/>
              <a:t>certifying carbon-reduction projects, and market-based coordination </a:t>
            </a:r>
            <a:r>
              <a:rPr lang="en-US" dirty="0"/>
              <a:t>could be promoted—though within limits and to varying degrees depending on the ecosystem service in question.</a:t>
            </a:r>
            <a:endParaRPr lang="en-GB" dirty="0"/>
          </a:p>
          <a:p>
            <a:endParaRPr lang="de-CH" dirty="0"/>
          </a:p>
        </p:txBody>
      </p:sp>
      <p:sp>
        <p:nvSpPr>
          <p:cNvPr id="4" name="Slide Number Placeholder 3">
            <a:extLst>
              <a:ext uri="{FF2B5EF4-FFF2-40B4-BE49-F238E27FC236}">
                <a16:creationId xmlns:a16="http://schemas.microsoft.com/office/drawing/2014/main" id="{0E7DB29C-2128-737D-F9B5-63471F225E4A}"/>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69145080-0E44-989A-6F9D-76D5BA3F444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0496947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Final </a:t>
            </a:r>
            <a:r>
              <a:rPr lang="de-CH" dirty="0" err="1"/>
              <a:t>Discussion</a:t>
            </a:r>
            <a:endParaRPr lang="de-CH"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a:xfrm>
            <a:off x="479425" y="1403902"/>
            <a:ext cx="11233150" cy="4213225"/>
          </a:xfrm>
        </p:spPr>
        <p:txBody>
          <a:bodyPr/>
          <a:lstStyle/>
          <a:p>
            <a:pPr marL="0" indent="0">
              <a:buNone/>
            </a:pPr>
            <a:r>
              <a:rPr lang="en-US" dirty="0"/>
              <a:t>Discuss in pairs or small groups at the end:</a:t>
            </a:r>
          </a:p>
          <a:p>
            <a:pPr marL="0" indent="0">
              <a:buNone/>
            </a:pPr>
            <a:endParaRPr lang="en-US" dirty="0"/>
          </a:p>
          <a:p>
            <a:pPr marL="342900" indent="-342900">
              <a:buFont typeface="+mj-lt"/>
              <a:buAutoNum type="arabicPeriod"/>
            </a:pPr>
            <a:r>
              <a:rPr lang="en-US" dirty="0"/>
              <a:t>Do my recommendations point in a similar direction to those of the researchers, or are there only a few commonalities?</a:t>
            </a:r>
          </a:p>
          <a:p>
            <a:pPr marL="342900" indent="-342900">
              <a:buFont typeface="+mj-lt"/>
              <a:buAutoNum type="arabicPeriod"/>
            </a:pPr>
            <a:r>
              <a:rPr lang="en-US" dirty="0"/>
              <a:t>How realistic and politically feasible do I consider my recommendations?</a:t>
            </a:r>
          </a:p>
          <a:p>
            <a:pPr marL="342900" indent="-342900">
              <a:buFont typeface="+mj-lt"/>
              <a:buAutoNum type="arabicPeriod"/>
            </a:pPr>
            <a:r>
              <a:rPr lang="en-US" dirty="0"/>
              <a:t>How realistic and politically feasible do I consider the researchers’ recommendations?</a:t>
            </a:r>
          </a:p>
          <a:p>
            <a:pPr marL="342900" indent="-342900">
              <a:buFont typeface="+mj-lt"/>
              <a:buAutoNum type="arabicPeriod"/>
            </a:pPr>
            <a:r>
              <a:rPr lang="en-US" dirty="0"/>
              <a:t>Where are the opportunities and strengths—and where are the limits and risks—when researchers make policy recommendations?</a:t>
            </a:r>
          </a:p>
          <a:p>
            <a:pPr marL="342900" indent="-342900">
              <a:buFont typeface="+mj-lt"/>
              <a:buAutoNum type="arabicPeriod"/>
            </a:pPr>
            <a:r>
              <a:rPr lang="en-US" dirty="0"/>
              <a:t>Where are the opportunities and strengths—and where are the limits and risks—when researchers make policy recommendations in the field of a sustainable economy?</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898823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ppendix</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dirty="0"/>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2727228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501F872-B84D-205A-F445-6A065F0550AE}"/>
              </a:ext>
            </a:extLst>
          </p:cNvPr>
          <p:cNvGraphicFramePr>
            <a:graphicFrameLocks noChangeAspect="1"/>
          </p:cNvGraphicFramePr>
          <p:nvPr>
            <p:custDataLst>
              <p:tags r:id="rId1"/>
            </p:custDataLst>
            <p:extLst>
              <p:ext uri="{D42A27DB-BD31-4B8C-83A1-F6EECF244321}">
                <p14:modId xmlns:p14="http://schemas.microsoft.com/office/powerpoint/2010/main" val="29720946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1501F872-B84D-205A-F445-6A065F0550A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A82938-B5ED-9F37-AB75-5480868D4A49}"/>
              </a:ext>
            </a:extLst>
          </p:cNvPr>
          <p:cNvSpPr>
            <a:spLocks noGrp="1"/>
          </p:cNvSpPr>
          <p:nvPr>
            <p:ph type="title"/>
          </p:nvPr>
        </p:nvSpPr>
        <p:spPr/>
        <p:txBody>
          <a:bodyPr vert="horz"/>
          <a:lstStyle/>
          <a:p>
            <a:r>
              <a:rPr lang="de-CH" dirty="0" err="1"/>
              <a:t>Sector-specific</a:t>
            </a:r>
            <a:r>
              <a:rPr lang="de-CH" dirty="0"/>
              <a:t> </a:t>
            </a:r>
            <a:r>
              <a:rPr lang="de-CH" dirty="0" err="1"/>
              <a:t>recommendations</a:t>
            </a:r>
            <a:r>
              <a:rPr lang="de-CH" dirty="0"/>
              <a:t> 874605</a:t>
            </a:r>
            <a:br>
              <a:rPr lang="de-CH" dirty="0"/>
            </a:br>
            <a:endParaRPr lang="de-CH" dirty="0"/>
          </a:p>
        </p:txBody>
      </p:sp>
      <p:sp>
        <p:nvSpPr>
          <p:cNvPr id="3" name="Text Placeholder 2">
            <a:extLst>
              <a:ext uri="{FF2B5EF4-FFF2-40B4-BE49-F238E27FC236}">
                <a16:creationId xmlns:a16="http://schemas.microsoft.com/office/drawing/2014/main" id="{280E1401-10B9-22A9-A423-0F2D7BAE20AC}"/>
              </a:ext>
            </a:extLst>
          </p:cNvPr>
          <p:cNvSpPr>
            <a:spLocks noGrp="1"/>
          </p:cNvSpPr>
          <p:nvPr>
            <p:ph type="body" sz="quarter" idx="13"/>
          </p:nvPr>
        </p:nvSpPr>
        <p:spPr>
          <a:xfrm>
            <a:off x="479425" y="1808163"/>
            <a:ext cx="10859135" cy="4213225"/>
          </a:xfrm>
        </p:spPr>
        <p:txBody>
          <a:bodyPr/>
          <a:lstStyle/>
          <a:p>
            <a:pPr marL="0" indent="0">
              <a:buNone/>
            </a:pPr>
            <a:r>
              <a:rPr lang="de-CH" dirty="0">
                <a:solidFill>
                  <a:srgbClr val="1A1A1A"/>
                </a:solidFill>
                <a:latin typeface="Theinhardt-Regular"/>
              </a:rPr>
              <a:t>Im </a:t>
            </a:r>
            <a:r>
              <a:rPr lang="de-CH" dirty="0">
                <a:hlinkClick r:id="rId5"/>
              </a:rPr>
              <a:t>White Paper</a:t>
            </a:r>
            <a:r>
              <a:rPr lang="de-CH" dirty="0"/>
              <a:t> </a:t>
            </a:r>
            <a:r>
              <a:rPr lang="de-CH" dirty="0" err="1"/>
              <a:t>with</a:t>
            </a:r>
            <a:r>
              <a:rPr lang="de-CH" dirty="0"/>
              <a:t> </a:t>
            </a:r>
            <a:r>
              <a:rPr lang="de-CH" dirty="0" err="1"/>
              <a:t>policy</a:t>
            </a:r>
            <a:r>
              <a:rPr lang="de-CH" dirty="0"/>
              <a:t> </a:t>
            </a:r>
            <a:r>
              <a:rPr lang="de-CH" dirty="0" err="1"/>
              <a:t>recommendations</a:t>
            </a:r>
            <a:endParaRPr lang="de-CH" dirty="0">
              <a:solidFill>
                <a:srgbClr val="1A1A1A"/>
              </a:solidFill>
              <a:hlinkClick r:id="rId6"/>
            </a:endParaRPr>
          </a:p>
          <a:p>
            <a:pPr marL="0" indent="0">
              <a:buNone/>
            </a:pPr>
            <a:r>
              <a:rPr lang="en-US" dirty="0"/>
              <a:t>Additional recommendations were formulated for eleven sectors. These can be consulted starting on page 30:</a:t>
            </a:r>
          </a:p>
          <a:p>
            <a:pPr marL="0" indent="0">
              <a:buNone/>
            </a:pPr>
            <a:endParaRPr lang="de-CH" dirty="0">
              <a:solidFill>
                <a:srgbClr val="1A1A1A"/>
              </a:solidFill>
            </a:endParaRPr>
          </a:p>
          <a:p>
            <a:pPr marL="0" indent="0" algn="l">
              <a:buNone/>
            </a:pPr>
            <a:endParaRPr lang="de-CH" dirty="0">
              <a:solidFill>
                <a:srgbClr val="1A1A1A"/>
              </a:solidFill>
            </a:endParaRPr>
          </a:p>
          <a:p>
            <a:pPr marL="0" indent="0" algn="l">
              <a:buNone/>
            </a:pPr>
            <a:endParaRPr lang="de-CH" sz="1800" b="0" i="0" u="none" strike="noStrike" baseline="0" dirty="0">
              <a:solidFill>
                <a:srgbClr val="1A1A1A"/>
              </a:solidFill>
            </a:endParaRPr>
          </a:p>
          <a:p>
            <a:pPr marL="558900" lvl="1" indent="-342900">
              <a:buFont typeface="+mj-lt"/>
              <a:buAutoNum type="arabicPeriod"/>
            </a:pPr>
            <a:endParaRPr lang="de-CH" b="0" i="0" u="none" strike="noStrike" baseline="0" dirty="0">
              <a:solidFill>
                <a:srgbClr val="1A1A1A"/>
              </a:solidFill>
            </a:endParaRPr>
          </a:p>
        </p:txBody>
      </p:sp>
      <p:sp>
        <p:nvSpPr>
          <p:cNvPr id="4" name="Slide Number Placeholder 3">
            <a:extLst>
              <a:ext uri="{FF2B5EF4-FFF2-40B4-BE49-F238E27FC236}">
                <a16:creationId xmlns:a16="http://schemas.microsoft.com/office/drawing/2014/main" id="{E9141EC7-E05E-D612-897C-93AC3FAD5D00}"/>
              </a:ext>
            </a:extLst>
          </p:cNvPr>
          <p:cNvSpPr>
            <a:spLocks noGrp="1"/>
          </p:cNvSpPr>
          <p:nvPr>
            <p:ph type="sldNum" sz="quarter" idx="14"/>
          </p:nvPr>
        </p:nvSpPr>
        <p:spPr/>
        <p:txBody>
          <a:bodyPr/>
          <a:lstStyle/>
          <a:p>
            <a:fld id="{476BE59D-4918-439E-9CBF-5840B2847889}" type="slidenum">
              <a:rPr lang="de-CH" smtClean="0"/>
              <a:pPr/>
              <a:t>37</a:t>
            </a:fld>
            <a:endParaRPr lang="de-CH" dirty="0"/>
          </a:p>
        </p:txBody>
      </p:sp>
      <p:sp>
        <p:nvSpPr>
          <p:cNvPr id="5" name="Footer Placeholder 4">
            <a:extLst>
              <a:ext uri="{FF2B5EF4-FFF2-40B4-BE49-F238E27FC236}">
                <a16:creationId xmlns:a16="http://schemas.microsoft.com/office/drawing/2014/main" id="{ED9641CE-A67B-26E4-CBAA-B7676735BC6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graphicFrame>
        <p:nvGraphicFramePr>
          <p:cNvPr id="6" name="Table 5">
            <a:extLst>
              <a:ext uri="{FF2B5EF4-FFF2-40B4-BE49-F238E27FC236}">
                <a16:creationId xmlns:a16="http://schemas.microsoft.com/office/drawing/2014/main" id="{3BCF2C71-105B-9129-9CD2-A06CF02557A8}"/>
              </a:ext>
            </a:extLst>
          </p:cNvPr>
          <p:cNvGraphicFramePr>
            <a:graphicFrameLocks noGrp="1"/>
          </p:cNvGraphicFramePr>
          <p:nvPr>
            <p:extLst>
              <p:ext uri="{D42A27DB-BD31-4B8C-83A1-F6EECF244321}">
                <p14:modId xmlns:p14="http://schemas.microsoft.com/office/powerpoint/2010/main" val="862517216"/>
              </p:ext>
            </p:extLst>
          </p:nvPr>
        </p:nvGraphicFramePr>
        <p:xfrm>
          <a:off x="618632" y="2935196"/>
          <a:ext cx="7416576" cy="2164080"/>
        </p:xfrm>
        <a:graphic>
          <a:graphicData uri="http://schemas.openxmlformats.org/drawingml/2006/table">
            <a:tbl>
              <a:tblPr firstRow="1" bandRow="1">
                <a:tableStyleId>{2D5ABB26-0587-4C30-8999-92F81FD0307C}</a:tableStyleId>
              </a:tblPr>
              <a:tblGrid>
                <a:gridCol w="3029343">
                  <a:extLst>
                    <a:ext uri="{9D8B030D-6E8A-4147-A177-3AD203B41FA5}">
                      <a16:colId xmlns:a16="http://schemas.microsoft.com/office/drawing/2014/main" val="1064572233"/>
                    </a:ext>
                  </a:extLst>
                </a:gridCol>
                <a:gridCol w="4387233">
                  <a:extLst>
                    <a:ext uri="{9D8B030D-6E8A-4147-A177-3AD203B41FA5}">
                      <a16:colId xmlns:a16="http://schemas.microsoft.com/office/drawing/2014/main" val="1437053603"/>
                    </a:ext>
                  </a:extLst>
                </a:gridCol>
              </a:tblGrid>
              <a:tr h="324425">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de-CH" b="0" u="none" strike="noStrike" baseline="0" dirty="0">
                          <a:solidFill>
                            <a:srgbClr val="1A1A1A"/>
                          </a:solidFill>
                        </a:rPr>
                        <a:t>1. </a:t>
                      </a:r>
                      <a:r>
                        <a:rPr lang="de-CH" dirty="0" err="1"/>
                        <a:t>Agriculture</a:t>
                      </a:r>
                      <a:endParaRPr lang="de-CH" b="0" i="0" u="none" strike="noStrike" baseline="0" dirty="0">
                        <a:solidFill>
                          <a:srgbClr val="1A1A1A"/>
                        </a:solidFill>
                      </a:endParaRPr>
                    </a:p>
                  </a:txBody>
                  <a:tcPr marL="0" marR="0" marT="0" marB="0"/>
                </a:tc>
                <a:tc>
                  <a:txBody>
                    <a:bodyPr/>
                    <a:lstStyle/>
                    <a:p>
                      <a:pPr marL="0" lvl="2" indent="0" algn="l" defTabSz="914400" rtl="0" eaLnBrk="1" latinLnBrk="0" hangingPunct="1">
                        <a:lnSpc>
                          <a:spcPct val="150000"/>
                        </a:lnSpc>
                        <a:buFont typeface="+mj-lt"/>
                        <a:buNone/>
                      </a:pPr>
                      <a:r>
                        <a:rPr lang="de-CH" sz="1800" b="0" kern="1200" dirty="0">
                          <a:solidFill>
                            <a:srgbClr val="000000"/>
                          </a:solidFill>
                        </a:rPr>
                        <a:t>6. </a:t>
                      </a:r>
                      <a:r>
                        <a:rPr lang="de-CH" dirty="0"/>
                        <a:t>Health &amp; </a:t>
                      </a:r>
                      <a:r>
                        <a:rPr lang="de-CH" dirty="0" err="1"/>
                        <a:t>Healthcare</a:t>
                      </a:r>
                      <a:endParaRPr lang="de-CH" sz="1800" b="0" kern="1200" dirty="0">
                        <a:solidFill>
                          <a:srgbClr val="000000"/>
                        </a:solidFill>
                        <a:latin typeface="+mn-lt"/>
                        <a:ea typeface="+mn-ea"/>
                        <a:cs typeface="+mn-cs"/>
                      </a:endParaRPr>
                    </a:p>
                  </a:txBody>
                  <a:tcPr marL="0" marR="0" marT="0" marB="0"/>
                </a:tc>
                <a:extLst>
                  <a:ext uri="{0D108BD9-81ED-4DB2-BD59-A6C34878D82A}">
                    <a16:rowId xmlns:a16="http://schemas.microsoft.com/office/drawing/2014/main" val="3442169396"/>
                  </a:ext>
                </a:extLst>
              </a:tr>
              <a:tr h="324425">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de-CH" b="0" u="none" strike="noStrike" baseline="0" dirty="0">
                          <a:solidFill>
                            <a:srgbClr val="1A1A1A"/>
                          </a:solidFill>
                        </a:rPr>
                        <a:t>2. </a:t>
                      </a:r>
                      <a:r>
                        <a:rPr lang="de-CH" dirty="0"/>
                        <a:t>Housing and Construction</a:t>
                      </a:r>
                      <a:endParaRPr lang="de-CH" b="0" i="0" u="none" strike="noStrike" baseline="0" dirty="0">
                        <a:solidFill>
                          <a:srgbClr val="1A1A1A"/>
                        </a:solidFill>
                      </a:endParaRPr>
                    </a:p>
                  </a:txBody>
                  <a:tcPr marL="0" marR="0" marT="0" marB="0"/>
                </a:tc>
                <a:tc>
                  <a:txBody>
                    <a:bodyPr/>
                    <a:lstStyle/>
                    <a:p>
                      <a:pPr marL="0" lvl="2" indent="0" algn="l" defTabSz="914400" rtl="0" eaLnBrk="1" latinLnBrk="0" hangingPunct="1">
                        <a:lnSpc>
                          <a:spcPct val="150000"/>
                        </a:lnSpc>
                        <a:buFont typeface="+mj-lt"/>
                        <a:buNone/>
                      </a:pPr>
                      <a:r>
                        <a:rPr lang="de-CH" sz="1800" kern="1200" dirty="0">
                          <a:solidFill>
                            <a:srgbClr val="000000"/>
                          </a:solidFill>
                        </a:rPr>
                        <a:t>7. </a:t>
                      </a:r>
                      <a:r>
                        <a:rPr lang="de-CH" dirty="0"/>
                        <a:t>Households &amp; </a:t>
                      </a:r>
                      <a:r>
                        <a:rPr lang="de-CH" dirty="0" err="1"/>
                        <a:t>Consumers</a:t>
                      </a:r>
                      <a:endParaRPr lang="de-CH" sz="1800" kern="1200" dirty="0">
                        <a:solidFill>
                          <a:srgbClr val="000000"/>
                        </a:solidFill>
                        <a:latin typeface="+mn-lt"/>
                        <a:ea typeface="+mn-ea"/>
                        <a:cs typeface="+mn-cs"/>
                      </a:endParaRPr>
                    </a:p>
                  </a:txBody>
                  <a:tcPr marL="0" marR="0" marT="0" marB="0"/>
                </a:tc>
                <a:extLst>
                  <a:ext uri="{0D108BD9-81ED-4DB2-BD59-A6C34878D82A}">
                    <a16:rowId xmlns:a16="http://schemas.microsoft.com/office/drawing/2014/main" val="1035945422"/>
                  </a:ext>
                </a:extLst>
              </a:tr>
              <a:tr h="324425">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de-CH" b="0" u="none" strike="noStrike" baseline="0" dirty="0">
                          <a:solidFill>
                            <a:srgbClr val="1A1A1A"/>
                          </a:solidFill>
                        </a:rPr>
                        <a:t>3. </a:t>
                      </a:r>
                      <a:r>
                        <a:rPr lang="de-CH" dirty="0"/>
                        <a:t>Food </a:t>
                      </a:r>
                      <a:r>
                        <a:rPr lang="de-CH" dirty="0" err="1"/>
                        <a:t>Sector</a:t>
                      </a:r>
                      <a:endParaRPr lang="de-CH" b="0" i="0" u="none" strike="noStrike" baseline="0" dirty="0">
                        <a:solidFill>
                          <a:srgbClr val="1A1A1A"/>
                        </a:solidFill>
                      </a:endParaRPr>
                    </a:p>
                  </a:txBody>
                  <a:tcPr marL="0" marR="0" marT="0" marB="0"/>
                </a:tc>
                <a:tc>
                  <a:txBody>
                    <a:bodyPr/>
                    <a:lstStyle/>
                    <a:p>
                      <a:pPr marL="0" lvl="2" indent="0" algn="l" defTabSz="914400" rtl="0" eaLnBrk="1" latinLnBrk="0" hangingPunct="1">
                        <a:lnSpc>
                          <a:spcPct val="150000"/>
                        </a:lnSpc>
                        <a:buFont typeface="+mj-lt"/>
                        <a:buNone/>
                      </a:pPr>
                      <a:r>
                        <a:rPr lang="de-CH" sz="1800" kern="1200" dirty="0">
                          <a:solidFill>
                            <a:srgbClr val="000000"/>
                          </a:solidFill>
                        </a:rPr>
                        <a:t>8. Industry</a:t>
                      </a:r>
                      <a:endParaRPr lang="de-CH" sz="1800" kern="1200" dirty="0">
                        <a:solidFill>
                          <a:srgbClr val="000000"/>
                        </a:solidFill>
                        <a:latin typeface="+mn-lt"/>
                        <a:ea typeface="+mn-ea"/>
                        <a:cs typeface="+mn-cs"/>
                      </a:endParaRPr>
                    </a:p>
                  </a:txBody>
                  <a:tcPr marL="0" marR="0" marT="0" marB="0"/>
                </a:tc>
                <a:extLst>
                  <a:ext uri="{0D108BD9-81ED-4DB2-BD59-A6C34878D82A}">
                    <a16:rowId xmlns:a16="http://schemas.microsoft.com/office/drawing/2014/main" val="164994643"/>
                  </a:ext>
                </a:extLst>
              </a:tr>
              <a:tr h="324425">
                <a:tc>
                  <a:txBody>
                    <a:bodyPr/>
                    <a:lstStyle/>
                    <a:p>
                      <a:pPr>
                        <a:lnSpc>
                          <a:spcPct val="150000"/>
                        </a:lnSpc>
                      </a:pPr>
                      <a:r>
                        <a:rPr lang="de-CH" b="0" u="none" strike="noStrike" baseline="0" dirty="0">
                          <a:solidFill>
                            <a:srgbClr val="1A1A1A"/>
                          </a:solidFill>
                        </a:rPr>
                        <a:t>4. Forest </a:t>
                      </a:r>
                      <a:endParaRPr lang="de-CH" dirty="0"/>
                    </a:p>
                  </a:txBody>
                  <a:tcPr marL="0" marR="0" marT="0" marB="0"/>
                </a:tc>
                <a:tc>
                  <a:txBody>
                    <a:bodyPr/>
                    <a:lstStyle/>
                    <a:p>
                      <a:pPr marL="0" lvl="2" indent="0" algn="l" defTabSz="914400" rtl="0" eaLnBrk="1" latinLnBrk="0" hangingPunct="1">
                        <a:lnSpc>
                          <a:spcPct val="150000"/>
                        </a:lnSpc>
                        <a:buFont typeface="+mj-lt"/>
                        <a:buNone/>
                      </a:pPr>
                      <a:r>
                        <a:rPr lang="de-CH" sz="1800" kern="1200" dirty="0">
                          <a:solidFill>
                            <a:srgbClr val="000000"/>
                          </a:solidFill>
                        </a:rPr>
                        <a:t>9. Mobility </a:t>
                      </a:r>
                      <a:r>
                        <a:rPr lang="de-CH" sz="1800" kern="1200" dirty="0" err="1">
                          <a:solidFill>
                            <a:srgbClr val="000000"/>
                          </a:solidFill>
                        </a:rPr>
                        <a:t>sector</a:t>
                      </a:r>
                      <a:endParaRPr lang="de-CH" sz="1800" kern="1200" dirty="0">
                        <a:solidFill>
                          <a:srgbClr val="000000"/>
                        </a:solidFill>
                        <a:latin typeface="+mn-lt"/>
                        <a:ea typeface="+mn-ea"/>
                        <a:cs typeface="+mn-cs"/>
                      </a:endParaRPr>
                    </a:p>
                  </a:txBody>
                  <a:tcPr marL="0" marR="0" marT="0" marB="0"/>
                </a:tc>
                <a:extLst>
                  <a:ext uri="{0D108BD9-81ED-4DB2-BD59-A6C34878D82A}">
                    <a16:rowId xmlns:a16="http://schemas.microsoft.com/office/drawing/2014/main" val="213857473"/>
                  </a:ext>
                </a:extLst>
              </a:tr>
              <a:tr h="324425">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de-CH" b="0" u="none" strike="noStrike" baseline="0" dirty="0">
                          <a:solidFill>
                            <a:srgbClr val="1A1A1A"/>
                          </a:solidFill>
                        </a:rPr>
                        <a:t>5. Green Finance</a:t>
                      </a:r>
                      <a:endParaRPr lang="de-CH" b="0" i="0" u="none" strike="noStrike" baseline="0" dirty="0">
                        <a:solidFill>
                          <a:srgbClr val="1A1A1A"/>
                        </a:solidFill>
                      </a:endParaRPr>
                    </a:p>
                  </a:txBody>
                  <a:tcPr marL="0" marR="0" marT="0" marB="0"/>
                </a:tc>
                <a:tc>
                  <a:txBody>
                    <a:bodyPr/>
                    <a:lstStyle/>
                    <a:p>
                      <a:pPr marL="0" lvl="2" indent="0" algn="l" defTabSz="914400" rtl="0" eaLnBrk="1" latinLnBrk="0" hangingPunct="1">
                        <a:lnSpc>
                          <a:spcPct val="150000"/>
                        </a:lnSpc>
                        <a:buFont typeface="+mj-lt"/>
                        <a:buNone/>
                      </a:pPr>
                      <a:r>
                        <a:rPr lang="de-CH" sz="1800" kern="1200" dirty="0">
                          <a:solidFill>
                            <a:srgbClr val="000000"/>
                          </a:solidFill>
                        </a:rPr>
                        <a:t>10. </a:t>
                      </a:r>
                      <a:r>
                        <a:rPr lang="de-CH" dirty="0" err="1"/>
                        <a:t>Waste</a:t>
                      </a:r>
                      <a:r>
                        <a:rPr lang="de-CH" dirty="0"/>
                        <a:t> and </a:t>
                      </a:r>
                      <a:r>
                        <a:rPr lang="de-CH" dirty="0" err="1"/>
                        <a:t>Packaging</a:t>
                      </a:r>
                      <a:endParaRPr lang="de-CH" sz="1800" kern="1200" dirty="0">
                        <a:solidFill>
                          <a:srgbClr val="000000"/>
                        </a:solidFill>
                        <a:latin typeface="+mn-lt"/>
                        <a:ea typeface="+mn-ea"/>
                        <a:cs typeface="+mn-cs"/>
                      </a:endParaRPr>
                    </a:p>
                  </a:txBody>
                  <a:tcPr marL="0" marR="0" marT="0" marB="0"/>
                </a:tc>
                <a:extLst>
                  <a:ext uri="{0D108BD9-81ED-4DB2-BD59-A6C34878D82A}">
                    <a16:rowId xmlns:a16="http://schemas.microsoft.com/office/drawing/2014/main" val="1664137549"/>
                  </a:ext>
                </a:extLst>
              </a:tr>
              <a:tr h="324425">
                <a:tc>
                  <a:txBody>
                    <a:bodyPr/>
                    <a:lstStyle/>
                    <a:p>
                      <a:pPr>
                        <a:lnSpc>
                          <a:spcPct val="150000"/>
                        </a:lnSpc>
                      </a:pPr>
                      <a:endParaRPr lang="de-CH" dirty="0"/>
                    </a:p>
                  </a:txBody>
                  <a:tcPr marL="0" marR="0" marT="0" marB="0"/>
                </a:tc>
                <a:tc>
                  <a:txBody>
                    <a:bodyPr/>
                    <a:lstStyle/>
                    <a:p>
                      <a:pPr marL="0" marR="0" lvl="0" indent="0" algn="l" defTabSz="914400" rtl="0" eaLnBrk="1" fontAlgn="auto" latinLnBrk="0" hangingPunct="1">
                        <a:lnSpc>
                          <a:spcPct val="150000"/>
                        </a:lnSpc>
                        <a:spcBef>
                          <a:spcPts val="0"/>
                        </a:spcBef>
                        <a:spcAft>
                          <a:spcPts val="0"/>
                        </a:spcAft>
                        <a:buClrTx/>
                        <a:buSzTx/>
                        <a:buFont typeface="+mj-lt"/>
                        <a:buNone/>
                        <a:tabLst/>
                        <a:defRPr/>
                      </a:pPr>
                      <a:r>
                        <a:rPr lang="de-CH" b="0" u="none" strike="noStrike" baseline="0" dirty="0">
                          <a:solidFill>
                            <a:srgbClr val="1A1A1A"/>
                          </a:solidFill>
                        </a:rPr>
                        <a:t>11. </a:t>
                      </a:r>
                      <a:r>
                        <a:rPr lang="de-CH" dirty="0"/>
                        <a:t>(</a:t>
                      </a:r>
                      <a:r>
                        <a:rPr lang="de-CH" dirty="0" err="1"/>
                        <a:t>Waste</a:t>
                      </a:r>
                      <a:r>
                        <a:rPr lang="de-CH" dirty="0"/>
                        <a:t>) </a:t>
                      </a:r>
                      <a:r>
                        <a:rPr lang="de-CH" dirty="0" err="1"/>
                        <a:t>Water</a:t>
                      </a:r>
                      <a:endParaRPr lang="de-CH" dirty="0"/>
                    </a:p>
                  </a:txBody>
                  <a:tcPr marL="0" marR="0" marT="0" marB="0"/>
                </a:tc>
                <a:extLst>
                  <a:ext uri="{0D108BD9-81ED-4DB2-BD59-A6C34878D82A}">
                    <a16:rowId xmlns:a16="http://schemas.microsoft.com/office/drawing/2014/main" val="2051352040"/>
                  </a:ext>
                </a:extLst>
              </a:tr>
            </a:tbl>
          </a:graphicData>
        </a:graphic>
      </p:graphicFrame>
    </p:spTree>
    <p:extLst>
      <p:ext uri="{BB962C8B-B14F-4D97-AF65-F5344CB8AC3E}">
        <p14:creationId xmlns:p14="http://schemas.microsoft.com/office/powerpoint/2010/main" val="1617326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a:lstStyle/>
          <a:p>
            <a:r>
              <a:rPr lang="en-US" dirty="0"/>
              <a:t>Further sources for in-depth study on the topic</a:t>
            </a:r>
            <a:endParaRPr lang="de-CH" dirty="0"/>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pPr marL="0" indent="0">
              <a:buNone/>
            </a:pPr>
            <a:r>
              <a:rPr lang="en-US" dirty="0">
                <a:hlinkClick r:id="rId2"/>
              </a:rPr>
              <a:t>Conclusion of the national research program "Sustainable Economy“ </a:t>
            </a:r>
            <a:r>
              <a:rPr lang="de-CH" dirty="0"/>
              <a:t>(Video)</a:t>
            </a:r>
          </a:p>
          <a:p>
            <a:endParaRPr lang="de-CH" dirty="0"/>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CH" smtClean="0"/>
              <a:pPr/>
              <a:t>38</a:t>
            </a:fld>
            <a:endParaRPr lang="de-CH"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9703337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en-US" dirty="0"/>
              <a:t>Use of the learning module</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lvl="0" eaLnBrk="0" fontAlgn="base" hangingPunct="0">
              <a:lnSpc>
                <a:spcPct val="100000"/>
              </a:lnSpc>
              <a:spcBef>
                <a:spcPts val="1200"/>
              </a:spcBef>
              <a:spcAft>
                <a:spcPct val="0"/>
              </a:spcAft>
              <a:buFont typeface="Arial" panose="020B0604020202020204" pitchFamily="34" charset="0"/>
              <a:buChar char="•"/>
            </a:pP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use</a:t>
            </a:r>
            <a:r>
              <a:rPr lang="de-DE" altLang="de-DE" dirty="0">
                <a:latin typeface="Arial" panose="020B0604020202020204" pitchFamily="34" charset="0"/>
              </a:rPr>
              <a:t> in </a:t>
            </a:r>
            <a:r>
              <a:rPr lang="de-DE" altLang="de-DE" dirty="0" err="1">
                <a:latin typeface="Arial" panose="020B0604020202020204" pitchFamily="34" charset="0"/>
              </a:rPr>
              <a:t>Bachelor’s</a:t>
            </a:r>
            <a:r>
              <a:rPr lang="de-DE" altLang="de-DE" dirty="0">
                <a:latin typeface="Arial" panose="020B0604020202020204" pitchFamily="34" charset="0"/>
              </a:rPr>
              <a:t> </a:t>
            </a:r>
            <a:r>
              <a:rPr lang="de-DE" altLang="de-DE" dirty="0" err="1">
                <a:latin typeface="Arial" panose="020B0604020202020204" pitchFamily="34" charset="0"/>
              </a:rPr>
              <a:t>degree</a:t>
            </a:r>
            <a:r>
              <a:rPr lang="de-DE" altLang="de-DE" dirty="0">
                <a:latin typeface="Arial" panose="020B0604020202020204" pitchFamily="34" charset="0"/>
              </a:rPr>
              <a:t> </a:t>
            </a:r>
            <a:r>
              <a:rPr lang="de-DE" altLang="de-DE" dirty="0" err="1">
                <a:latin typeface="Arial" panose="020B0604020202020204" pitchFamily="34" charset="0"/>
              </a:rPr>
              <a:t>programmes</a:t>
            </a:r>
            <a:r>
              <a:rPr lang="de-DE" altLang="de-DE" dirty="0">
                <a:latin typeface="Arial" panose="020B0604020202020204" pitchFamily="34" charset="0"/>
              </a:rPr>
              <a:t> at Swiss </a:t>
            </a:r>
            <a:r>
              <a:rPr lang="de-DE" altLang="de-DE" dirty="0" err="1">
                <a:latin typeface="Arial" panose="020B0604020202020204" pitchFamily="34" charset="0"/>
              </a:rPr>
              <a:t>higher</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institutions</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Arial" panose="020B0604020202020204" pitchFamily="34" charset="0"/>
              <a:buChar char="•"/>
            </a:pPr>
            <a:r>
              <a:rPr lang="de-DE" altLang="de-DE" dirty="0">
                <a:latin typeface="Arial" panose="020B0604020202020204" pitchFamily="34" charset="0"/>
              </a:rPr>
              <a:t>Also </a:t>
            </a: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as</a:t>
            </a:r>
            <a:r>
              <a:rPr lang="de-DE" altLang="de-DE" dirty="0">
                <a:latin typeface="Arial" panose="020B0604020202020204" pitchFamily="34" charset="0"/>
              </a:rPr>
              <a:t> an </a:t>
            </a:r>
            <a:r>
              <a:rPr lang="de-DE" altLang="de-DE" dirty="0" err="1">
                <a:latin typeface="Arial" panose="020B0604020202020204" pitchFamily="34" charset="0"/>
              </a:rPr>
              <a:t>introduction</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Master’s</a:t>
            </a:r>
            <a:r>
              <a:rPr lang="de-DE" altLang="de-DE" dirty="0">
                <a:latin typeface="Arial" panose="020B0604020202020204" pitchFamily="34" charset="0"/>
              </a:rPr>
              <a:t> and </a:t>
            </a:r>
            <a:r>
              <a:rPr lang="de-DE" altLang="de-DE" dirty="0" err="1">
                <a:latin typeface="Arial" panose="020B0604020202020204" pitchFamily="34" charset="0"/>
              </a:rPr>
              <a:t>continuing</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programmes</a:t>
            </a:r>
            <a:r>
              <a:rPr lang="de-DE" altLang="de-DE" dirty="0">
                <a:latin typeface="Arial" panose="020B0604020202020204" pitchFamily="34" charset="0"/>
              </a:rPr>
              <a:t> at Swiss </a:t>
            </a:r>
            <a:r>
              <a:rPr lang="de-DE" altLang="de-DE" dirty="0" err="1">
                <a:latin typeface="Arial" panose="020B0604020202020204" pitchFamily="34" charset="0"/>
              </a:rPr>
              <a:t>higher</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institutions</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Arial" panose="020B0604020202020204" pitchFamily="34" charset="0"/>
              <a:buChar char="•"/>
            </a:pP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self-study</a:t>
            </a:r>
            <a:r>
              <a:rPr lang="de-DE" altLang="de-DE" dirty="0">
                <a:latin typeface="Arial" panose="020B0604020202020204" pitchFamily="34" charset="0"/>
              </a:rPr>
              <a:t>; </a:t>
            </a:r>
            <a:r>
              <a:rPr lang="de-DE" altLang="de-DE" dirty="0" err="1">
                <a:latin typeface="Arial" panose="020B0604020202020204" pitchFamily="34" charset="0"/>
              </a:rPr>
              <a:t>can</a:t>
            </a:r>
            <a:r>
              <a:rPr lang="de-DE" altLang="de-DE" dirty="0">
                <a:latin typeface="Arial" panose="020B0604020202020204" pitchFamily="34" charset="0"/>
              </a:rPr>
              <a:t> also </a:t>
            </a:r>
            <a:r>
              <a:rPr lang="de-DE" altLang="de-DE" dirty="0" err="1">
                <a:latin typeface="Arial" panose="020B0604020202020204" pitchFamily="34" charset="0"/>
              </a:rPr>
              <a:t>be</a:t>
            </a:r>
            <a:r>
              <a:rPr lang="de-DE" altLang="de-DE" dirty="0">
                <a:latin typeface="Arial" panose="020B0604020202020204" pitchFamily="34" charset="0"/>
              </a:rPr>
              <a:t> </a:t>
            </a:r>
            <a:r>
              <a:rPr lang="de-DE" altLang="de-DE" dirty="0" err="1">
                <a:latin typeface="Arial" panose="020B0604020202020204" pitchFamily="34" charset="0"/>
              </a:rPr>
              <a:t>used</a:t>
            </a:r>
            <a:r>
              <a:rPr lang="de-DE" altLang="de-DE" dirty="0">
                <a:latin typeface="Arial" panose="020B0604020202020204" pitchFamily="34" charset="0"/>
              </a:rPr>
              <a:t> in face-</a:t>
            </a:r>
            <a:r>
              <a:rPr lang="de-DE" altLang="de-DE" dirty="0" err="1">
                <a:latin typeface="Arial" panose="020B0604020202020204" pitchFamily="34" charset="0"/>
              </a:rPr>
              <a:t>to</a:t>
            </a:r>
            <a:r>
              <a:rPr lang="de-DE" altLang="de-DE" dirty="0">
                <a:latin typeface="Arial" panose="020B0604020202020204" pitchFamily="34" charset="0"/>
              </a:rPr>
              <a:t>-face </a:t>
            </a:r>
            <a:r>
              <a:rPr lang="de-DE" altLang="de-DE" dirty="0" err="1">
                <a:latin typeface="Arial" panose="020B0604020202020204" pitchFamily="34" charset="0"/>
              </a:rPr>
              <a:t>teaching</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Arial" panose="020B0604020202020204" pitchFamily="34" charset="0"/>
              <a:buChar char="•"/>
            </a:pPr>
            <a:r>
              <a:rPr lang="de-DE" altLang="de-DE" dirty="0" err="1">
                <a:latin typeface="Arial" panose="020B0604020202020204" pitchFamily="34" charset="0"/>
              </a:rPr>
              <a:t>Scope</a:t>
            </a:r>
            <a:r>
              <a:rPr lang="de-DE" altLang="de-DE" dirty="0">
                <a:latin typeface="Arial" panose="020B0604020202020204" pitchFamily="34" charset="0"/>
              </a:rPr>
              <a:t>: 3–4 </a:t>
            </a:r>
            <a:r>
              <a:rPr lang="de-DE" altLang="de-DE" dirty="0" err="1">
                <a:latin typeface="Arial" panose="020B0604020202020204" pitchFamily="34" charset="0"/>
              </a:rPr>
              <a:t>hours</a:t>
            </a:r>
            <a:r>
              <a:rPr lang="de-DE" altLang="de-DE" dirty="0">
                <a:latin typeface="Arial" panose="020B0604020202020204" pitchFamily="34" charset="0"/>
              </a:rPr>
              <a:t> </a:t>
            </a:r>
            <a:r>
              <a:rPr lang="de-DE" altLang="de-DE" dirty="0" err="1">
                <a:latin typeface="Arial" panose="020B0604020202020204" pitchFamily="34" charset="0"/>
              </a:rPr>
              <a:t>of</a:t>
            </a:r>
            <a:r>
              <a:rPr lang="de-DE" altLang="de-DE" dirty="0">
                <a:latin typeface="Arial" panose="020B0604020202020204" pitchFamily="34" charset="0"/>
              </a:rPr>
              <a:t> learning time, </a:t>
            </a:r>
            <a:r>
              <a:rPr lang="de-DE" altLang="de-DE" dirty="0" err="1">
                <a:latin typeface="Arial" panose="020B0604020202020204" pitchFamily="34" charset="0"/>
              </a:rPr>
              <a:t>with</a:t>
            </a:r>
            <a:r>
              <a:rPr lang="de-DE" altLang="de-DE" dirty="0">
                <a:latin typeface="Arial" panose="020B0604020202020204" pitchFamily="34" charset="0"/>
              </a:rPr>
              <a:t> an additional 3–4 </a:t>
            </a:r>
            <a:r>
              <a:rPr lang="de-DE" altLang="de-DE" dirty="0" err="1">
                <a:latin typeface="Arial" panose="020B0604020202020204" pitchFamily="34" charset="0"/>
              </a:rPr>
              <a:t>hours</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further</a:t>
            </a:r>
            <a:r>
              <a:rPr lang="de-DE" altLang="de-DE" dirty="0">
                <a:latin typeface="Arial" panose="020B0604020202020204" pitchFamily="34" charset="0"/>
              </a:rPr>
              <a:t> in-</a:t>
            </a:r>
            <a:r>
              <a:rPr lang="de-DE" altLang="de-DE" dirty="0" err="1">
                <a:latin typeface="Arial" panose="020B0604020202020204" pitchFamily="34" charset="0"/>
              </a:rPr>
              <a:t>depth</a:t>
            </a:r>
            <a:r>
              <a:rPr lang="de-DE" altLang="de-DE" dirty="0">
                <a:latin typeface="Arial" panose="020B0604020202020204" pitchFamily="34" charset="0"/>
              </a:rPr>
              <a:t> </a:t>
            </a:r>
            <a:r>
              <a:rPr lang="de-DE" altLang="de-DE" dirty="0" err="1">
                <a:latin typeface="Arial" panose="020B0604020202020204" pitchFamily="34" charset="0"/>
              </a:rPr>
              <a:t>study</a:t>
            </a:r>
            <a:endParaRPr lang="de-DE" altLang="de-DE" dirty="0">
              <a:latin typeface="Arial" panose="020B0604020202020204" pitchFamily="34" charset="0"/>
            </a:endParaRP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9</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06316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a:xfrm>
            <a:off x="479425" y="476250"/>
            <a:ext cx="11233150" cy="1044575"/>
          </a:xfrm>
        </p:spPr>
        <p:txBody>
          <a:bodyPr anchor="t">
            <a:normAutofit/>
          </a:bodyPr>
          <a:lstStyle/>
          <a:p>
            <a:r>
              <a:rPr lang="de-CH" dirty="0" err="1"/>
              <a:t>Overview</a:t>
            </a:r>
            <a:r>
              <a:rPr lang="de-CH" dirty="0"/>
              <a:t> </a:t>
            </a:r>
            <a:r>
              <a:rPr lang="de-CH" dirty="0" err="1"/>
              <a:t>of</a:t>
            </a:r>
            <a:r>
              <a:rPr lang="de-CH" dirty="0"/>
              <a:t> </a:t>
            </a:r>
            <a:r>
              <a:rPr lang="de-CH" dirty="0" err="1"/>
              <a:t>focus</a:t>
            </a:r>
            <a:r>
              <a:rPr lang="de-CH" dirty="0"/>
              <a:t> </a:t>
            </a:r>
            <a:r>
              <a:rPr lang="de-CH" dirty="0" err="1"/>
              <a:t>areas</a:t>
            </a:r>
            <a:endParaRPr lang="de-CH" dirty="0"/>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3"/>
            <a:ext cx="5400675" cy="4213225"/>
          </a:xfrm>
        </p:spPr>
        <p:txBody>
          <a:bodyPr>
            <a:normAutofit/>
          </a:bodyPr>
          <a:lstStyle/>
          <a:p>
            <a:pPr marL="0" indent="0">
              <a:buNone/>
            </a:pPr>
            <a:r>
              <a:rPr lang="en-US" dirty="0"/>
              <a:t>In the NFP 73, there were nine research focus areas:</a:t>
            </a:r>
          </a:p>
          <a:p>
            <a:r>
              <a:rPr lang="en-US" dirty="0"/>
              <a:t>Agriculture and nutrition</a:t>
            </a:r>
          </a:p>
          <a:p>
            <a:r>
              <a:rPr lang="en-US" dirty="0"/>
              <a:t>Forestry</a:t>
            </a:r>
          </a:p>
          <a:p>
            <a:r>
              <a:rPr lang="en-US" dirty="0"/>
              <a:t>Building and construction</a:t>
            </a:r>
          </a:p>
          <a:p>
            <a:r>
              <a:rPr lang="en-US" dirty="0"/>
              <a:t>Cities and mobility</a:t>
            </a:r>
          </a:p>
          <a:p>
            <a:r>
              <a:rPr lang="en-US" dirty="0"/>
              <a:t>Supply chains</a:t>
            </a:r>
          </a:p>
          <a:p>
            <a:r>
              <a:rPr lang="en-US" dirty="0"/>
              <a:t>Circular economy</a:t>
            </a:r>
          </a:p>
          <a:p>
            <a:r>
              <a:rPr lang="en-US" dirty="0"/>
              <a:t>Finance</a:t>
            </a:r>
          </a:p>
          <a:p>
            <a:r>
              <a:rPr lang="en-US" dirty="0"/>
              <a:t>Sustainable </a:t>
            </a:r>
            <a:r>
              <a:rPr lang="en-US" dirty="0" err="1"/>
              <a:t>behaviour</a:t>
            </a:r>
            <a:endParaRPr lang="en-US" dirty="0"/>
          </a:p>
          <a:p>
            <a:r>
              <a:rPr lang="en-US" dirty="0"/>
              <a:t>Governance</a:t>
            </a:r>
          </a:p>
          <a:p>
            <a:pPr marL="0" indent="0">
              <a:spcAft>
                <a:spcPts val="600"/>
              </a:spcAft>
              <a:buNone/>
            </a:pPr>
            <a:endParaRPr lang="de-CH" dirty="0"/>
          </a:p>
          <a:p>
            <a:pPr>
              <a:spcAft>
                <a:spcPts val="600"/>
              </a:spcAft>
            </a:pPr>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4</a:t>
            </a:fld>
            <a:endParaRPr lang="de-CH"/>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7" name="Picture 6" descr="A close-up of a magnifying glass&#10;&#10;AI-generated content may be incorrect.">
            <a:extLst>
              <a:ext uri="{FF2B5EF4-FFF2-40B4-BE49-F238E27FC236}">
                <a16:creationId xmlns:a16="http://schemas.microsoft.com/office/drawing/2014/main" id="{265608F8-1E84-954C-C1C2-403E885D6CCE}"/>
              </a:ext>
            </a:extLst>
          </p:cNvPr>
          <p:cNvPicPr>
            <a:picLocks noChangeAspect="1"/>
          </p:cNvPicPr>
          <p:nvPr/>
        </p:nvPicPr>
        <p:blipFill>
          <a:blip r:embed="rId2">
            <a:extLst>
              <a:ext uri="{28A0092B-C50C-407E-A947-70E740481C1C}">
                <a14:useLocalDpi xmlns:a14="http://schemas.microsoft.com/office/drawing/2010/main" val="0"/>
              </a:ext>
            </a:extLst>
          </a:blip>
          <a:srcRect l="5025" r="1818" b="1"/>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7411839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en-US" dirty="0"/>
              <a:t>NFP 73 Sustainable Economy: resource-efficient, future-oriented, innovative</a:t>
            </a:r>
            <a:endParaRPr lang="de-CH"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F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FP 73.</a:t>
            </a:r>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40</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31104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en-US" dirty="0"/>
              <a:t>Policy recommendations derived from research findings</a:t>
            </a:r>
            <a:endParaRPr lang="de-CH" dirty="0"/>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rot="10800000" flipV="1">
            <a:off x="5436507" y="6016255"/>
            <a:ext cx="6276067" cy="365227"/>
          </a:xfrm>
        </p:spPr>
        <p:txBody>
          <a:bodyPr/>
          <a:lstStyle/>
          <a:p>
            <a:pPr marL="0" indent="0" algn="r">
              <a:buNone/>
            </a:pPr>
            <a:r>
              <a:rPr lang="de-CH" sz="1400" dirty="0">
                <a:hlinkClick r:id="rId2"/>
              </a:rPr>
              <a:t>SNF (2023): Policy </a:t>
            </a:r>
            <a:r>
              <a:rPr lang="de-CH" sz="1400" dirty="0" err="1">
                <a:hlinkClick r:id="rId2"/>
              </a:rPr>
              <a:t>recommendations</a:t>
            </a:r>
            <a:r>
              <a:rPr lang="de-CH" sz="1400" dirty="0">
                <a:hlinkClick r:id="rId2"/>
              </a:rPr>
              <a:t>, White Paper</a:t>
            </a:r>
            <a:endParaRPr lang="de-CH" sz="1400"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8" name="Picture 7">
            <a:extLst>
              <a:ext uri="{FF2B5EF4-FFF2-40B4-BE49-F238E27FC236}">
                <a16:creationId xmlns:a16="http://schemas.microsoft.com/office/drawing/2014/main" id="{536F3A04-912F-F70B-DF1E-FEC790555DBC}"/>
              </a:ext>
            </a:extLst>
          </p:cNvPr>
          <p:cNvPicPr>
            <a:picLocks noChangeAspect="1"/>
          </p:cNvPicPr>
          <p:nvPr/>
        </p:nvPicPr>
        <p:blipFill>
          <a:blip r:embed="rId3"/>
          <a:stretch>
            <a:fillRect/>
          </a:stretch>
        </p:blipFill>
        <p:spPr>
          <a:xfrm>
            <a:off x="2344434" y="1589112"/>
            <a:ext cx="7059447" cy="4238701"/>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en-US" dirty="0"/>
              <a:t>Please try to answer the following questions using your prior knowledge and experience. Ideally, discuss your answers with a colleague</a:t>
            </a:r>
            <a:r>
              <a:rPr lang="de-CH" sz="1800" dirty="0"/>
              <a:t>:</a:t>
            </a:r>
          </a:p>
          <a:p>
            <a:r>
              <a:rPr lang="en-US" dirty="0"/>
              <a:t>Which policy instruments do you know that are used in promoting sustainable economic development?</a:t>
            </a:r>
          </a:p>
          <a:p>
            <a:r>
              <a:rPr lang="en-US" dirty="0"/>
              <a:t>Which general policy recommendations would you derive from the research projects in the nine focus areas?</a:t>
            </a:r>
          </a:p>
          <a:p>
            <a:r>
              <a:rPr lang="en-US" dirty="0"/>
              <a:t>Which specific policy recommendations would you derive for the focus areas or for individual economic sectors?</a:t>
            </a:r>
          </a:p>
          <a:p>
            <a:pPr>
              <a:buFont typeface="Wingdings" panose="05000000000000000000" pitchFamily="2" charset="2"/>
              <a:buChar char="Ø"/>
            </a:pPr>
            <a:endParaRPr lang="de-CH" dirty="0"/>
          </a:p>
          <a:p>
            <a:pPr>
              <a:buFont typeface="Wingdings" panose="05000000000000000000" pitchFamily="2" charset="2"/>
              <a:buChar char="Ø"/>
            </a:pPr>
            <a:r>
              <a:rPr lang="en-US" dirty="0"/>
              <a:t>Which sustainability goals would these contribute to?</a:t>
            </a: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20161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en-US" dirty="0"/>
              <a:t>Links to the United Nations Sustainable Development Goals</a:t>
            </a:r>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
        <p:nvSpPr>
          <p:cNvPr id="8" name="TextBox 7">
            <a:extLst>
              <a:ext uri="{FF2B5EF4-FFF2-40B4-BE49-F238E27FC236}">
                <a16:creationId xmlns:a16="http://schemas.microsoft.com/office/drawing/2014/main" id="{16189DC4-3689-B6B0-3B92-9807AF06F045}"/>
              </a:ext>
            </a:extLst>
          </p:cNvPr>
          <p:cNvSpPr txBox="1"/>
          <p:nvPr/>
        </p:nvSpPr>
        <p:spPr>
          <a:xfrm>
            <a:off x="8692989" y="6314687"/>
            <a:ext cx="3266228" cy="283349"/>
          </a:xfrm>
          <a:prstGeom prst="rect">
            <a:avLst/>
          </a:prstGeom>
          <a:noFill/>
        </p:spPr>
        <p:txBody>
          <a:bodyPr wrap="square" rtlCol="0">
            <a:spAutoFit/>
          </a:bodyPr>
          <a:lstStyle/>
          <a:p>
            <a:r>
              <a:rPr lang="de-CH" sz="1200" b="0" i="0" dirty="0">
                <a:solidFill>
                  <a:srgbClr val="202122"/>
                </a:solidFill>
                <a:effectLst/>
                <a:latin typeface="Arial" panose="020B0604020202020204" pitchFamily="34" charset="0"/>
              </a:rPr>
              <a:t>Stockholm </a:t>
            </a:r>
            <a:r>
              <a:rPr lang="de-CH" sz="1200" b="0" i="0" dirty="0" err="1">
                <a:solidFill>
                  <a:srgbClr val="202122"/>
                </a:solidFill>
                <a:effectLst/>
                <a:latin typeface="Arial" panose="020B0604020202020204" pitchFamily="34" charset="0"/>
              </a:rPr>
              <a:t>Resilience</a:t>
            </a:r>
            <a:r>
              <a:rPr lang="de-CH" sz="1200" b="0" i="0" dirty="0">
                <a:solidFill>
                  <a:srgbClr val="202122"/>
                </a:solidFill>
                <a:effectLst/>
                <a:latin typeface="Arial" panose="020B0604020202020204" pitchFamily="34" charset="0"/>
              </a:rPr>
              <a:t> </a:t>
            </a:r>
            <a:r>
              <a:rPr lang="de-CH" sz="1200" b="0" i="0" dirty="0" err="1">
                <a:solidFill>
                  <a:srgbClr val="202122"/>
                </a:solidFill>
                <a:effectLst/>
                <a:latin typeface="Arial" panose="020B0604020202020204" pitchFamily="34" charset="0"/>
              </a:rPr>
              <a:t>Centre</a:t>
            </a:r>
            <a:endParaRPr lang="de-CH" sz="1200" dirty="0"/>
          </a:p>
        </p:txBody>
      </p:sp>
      <p:pic>
        <p:nvPicPr>
          <p:cNvPr id="1026" name="Picture 2" descr="Contributions to Agenda 2030 - Stockholm Resilience Centre">
            <a:extLst>
              <a:ext uri="{FF2B5EF4-FFF2-40B4-BE49-F238E27FC236}">
                <a16:creationId xmlns:a16="http://schemas.microsoft.com/office/drawing/2014/main" id="{8D441436-791B-0B69-FB0B-9222EEBCA5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2115" y="1211824"/>
            <a:ext cx="7419976" cy="48376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8204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F645567-62A3-E96F-9C5F-D1CCDBA7120B}"/>
              </a:ext>
            </a:extLst>
          </p:cNvPr>
          <p:cNvGraphicFramePr>
            <a:graphicFrameLocks noChangeAspect="1"/>
          </p:cNvGraphicFramePr>
          <p:nvPr>
            <p:custDataLst>
              <p:tags r:id="rId1"/>
            </p:custDataLst>
            <p:extLst>
              <p:ext uri="{D42A27DB-BD31-4B8C-83A1-F6EECF244321}">
                <p14:modId xmlns:p14="http://schemas.microsoft.com/office/powerpoint/2010/main" val="17869572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3F645567-62A3-E96F-9C5F-D1CCDBA712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0B7DB5-C121-2BA0-2ADC-BCBB9369C5C0}"/>
              </a:ext>
            </a:extLst>
          </p:cNvPr>
          <p:cNvSpPr>
            <a:spLocks noGrp="1"/>
          </p:cNvSpPr>
          <p:nvPr>
            <p:ph type="title"/>
          </p:nvPr>
        </p:nvSpPr>
        <p:spPr/>
        <p:txBody>
          <a:bodyPr vert="horz"/>
          <a:lstStyle/>
          <a:p>
            <a:r>
              <a:rPr lang="de-CH" dirty="0" err="1"/>
              <a:t>Principles</a:t>
            </a:r>
            <a:endParaRPr lang="de-CH" dirty="0"/>
          </a:p>
        </p:txBody>
      </p:sp>
      <p:sp>
        <p:nvSpPr>
          <p:cNvPr id="3" name="Slide Number Placeholder 2">
            <a:extLst>
              <a:ext uri="{FF2B5EF4-FFF2-40B4-BE49-F238E27FC236}">
                <a16:creationId xmlns:a16="http://schemas.microsoft.com/office/drawing/2014/main" id="{D68A7017-3E63-437E-897C-C32D4CD4B1DF}"/>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4" name="Text Placeholder 3">
            <a:extLst>
              <a:ext uri="{FF2B5EF4-FFF2-40B4-BE49-F238E27FC236}">
                <a16:creationId xmlns:a16="http://schemas.microsoft.com/office/drawing/2014/main" id="{DFAC5059-4E8C-F11B-3ED4-60EEB6A9F5F7}"/>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41F95716-7FE4-1B03-FF38-A231DF0B84E5}"/>
              </a:ext>
            </a:extLst>
          </p:cNvPr>
          <p:cNvSpPr>
            <a:spLocks noGrp="1"/>
          </p:cNvSpPr>
          <p:nvPr>
            <p:ph type="body" sz="quarter" idx="13"/>
          </p:nvPr>
        </p:nvSpPr>
        <p:spPr>
          <a:xfrm>
            <a:off x="479425" y="2565400"/>
            <a:ext cx="11248541" cy="3455988"/>
          </a:xfrm>
        </p:spPr>
        <p:txBody>
          <a:bodyPr/>
          <a:lstStyle/>
          <a:p>
            <a:pPr marL="342900" indent="-342900">
              <a:buFont typeface="+mj-lt"/>
              <a:buAutoNum type="arabicPeriod"/>
            </a:pPr>
            <a:r>
              <a:rPr lang="en-US" b="1" dirty="0"/>
              <a:t>Regeneration:</a:t>
            </a:r>
            <a:r>
              <a:rPr lang="en-US" dirty="0"/>
              <a:t> renewable resources should be used efficiently;</a:t>
            </a:r>
          </a:p>
          <a:p>
            <a:pPr marL="342900" indent="-342900">
              <a:buFont typeface="+mj-lt"/>
              <a:buAutoNum type="arabicPeriod"/>
            </a:pPr>
            <a:r>
              <a:rPr lang="en-US" b="1" dirty="0"/>
              <a:t>Substitutability:</a:t>
            </a:r>
            <a:r>
              <a:rPr lang="en-US" dirty="0"/>
              <a:t> non-renewable resources should be used efficiently and their use should be limited to a level that can be offset (i.e., replaced) by renewable resources or other forms of capital;</a:t>
            </a:r>
          </a:p>
          <a:p>
            <a:pPr marL="342900" indent="-342900">
              <a:buFont typeface="+mj-lt"/>
              <a:buAutoNum type="arabicPeriod"/>
            </a:pPr>
            <a:r>
              <a:rPr lang="en-US" b="1" dirty="0"/>
              <a:t>Assimilation:</a:t>
            </a:r>
            <a:r>
              <a:rPr lang="en-US" dirty="0"/>
              <a:t> the release of hazardous or environmentally harmful substances into the environment should not exceed its capacity to assimilate them, and concentrations should be kept below critical thresholds. Once assimilation capacity is reached, the release of such substances must be reduced to zero in order to prevent their accumulation in the environment;</a:t>
            </a:r>
          </a:p>
          <a:p>
            <a:pPr marL="342900" indent="-342900">
              <a:buFont typeface="+mj-lt"/>
              <a:buAutoNum type="arabicPeriod"/>
            </a:pPr>
            <a:r>
              <a:rPr lang="en-US" b="1" dirty="0"/>
              <a:t>Avoidance of irreversibility:</a:t>
            </a:r>
            <a:r>
              <a:rPr lang="en-US" dirty="0"/>
              <a:t> irreversible negative impacts of human production and consumption activities on areas such as ecosystems and biogeochemical and hydrological cycles should be avoided. Climate-system tipping points, for example, must not be crossed.</a:t>
            </a:r>
          </a:p>
          <a:p>
            <a:pPr marL="342900" indent="-342900">
              <a:buFont typeface="+mj-lt"/>
              <a:buAutoNum type="arabicPeriod"/>
            </a:pPr>
            <a:r>
              <a:rPr lang="de-CH" dirty="0"/>
              <a:t>.</a:t>
            </a:r>
          </a:p>
          <a:p>
            <a:endParaRPr lang="de-CH" dirty="0"/>
          </a:p>
        </p:txBody>
      </p:sp>
      <p:sp>
        <p:nvSpPr>
          <p:cNvPr id="6" name="Text Placeholder 5">
            <a:extLst>
              <a:ext uri="{FF2B5EF4-FFF2-40B4-BE49-F238E27FC236}">
                <a16:creationId xmlns:a16="http://schemas.microsoft.com/office/drawing/2014/main" id="{9A8E18D8-7C0D-1F80-949D-CD397B846B2A}"/>
              </a:ext>
            </a:extLst>
          </p:cNvPr>
          <p:cNvSpPr>
            <a:spLocks noGrp="1"/>
          </p:cNvSpPr>
          <p:nvPr>
            <p:ph type="body" sz="quarter" idx="12"/>
          </p:nvPr>
        </p:nvSpPr>
        <p:spPr>
          <a:xfrm>
            <a:off x="479424" y="1808163"/>
            <a:ext cx="11248542" cy="587375"/>
          </a:xfrm>
        </p:spPr>
        <p:txBody>
          <a:bodyPr/>
          <a:lstStyle/>
          <a:p>
            <a:r>
              <a:rPr lang="en-US" sz="2400" dirty="0"/>
              <a:t>The measures are guided by the following principles:</a:t>
            </a:r>
            <a:endParaRPr lang="de-CH" sz="2400" dirty="0"/>
          </a:p>
        </p:txBody>
      </p:sp>
      <p:sp>
        <p:nvSpPr>
          <p:cNvPr id="8" name="Footer Placeholder 7">
            <a:extLst>
              <a:ext uri="{FF2B5EF4-FFF2-40B4-BE49-F238E27FC236}">
                <a16:creationId xmlns:a16="http://schemas.microsoft.com/office/drawing/2014/main" id="{B440DA4D-BB92-DD2A-441D-AE0A72DB91FF}"/>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43153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2268E6D-C3F0-9220-2DB1-6EDB606FA700}"/>
              </a:ext>
            </a:extLst>
          </p:cNvPr>
          <p:cNvGraphicFramePr>
            <a:graphicFrameLocks noChangeAspect="1"/>
          </p:cNvGraphicFramePr>
          <p:nvPr>
            <p:custDataLst>
              <p:tags r:id="rId1"/>
            </p:custDataLst>
            <p:extLst>
              <p:ext uri="{D42A27DB-BD31-4B8C-83A1-F6EECF244321}">
                <p14:modId xmlns:p14="http://schemas.microsoft.com/office/powerpoint/2010/main" val="41825238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2268E6D-C3F0-9220-2DB1-6EDB606FA7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222DA5-3C31-1024-B60D-20C5736E9360}"/>
              </a:ext>
            </a:extLst>
          </p:cNvPr>
          <p:cNvSpPr>
            <a:spLocks noGrp="1"/>
          </p:cNvSpPr>
          <p:nvPr>
            <p:ph type="title"/>
          </p:nvPr>
        </p:nvSpPr>
        <p:spPr/>
        <p:txBody>
          <a:bodyPr vert="horz"/>
          <a:lstStyle/>
          <a:p>
            <a:r>
              <a:rPr lang="de-CH" dirty="0"/>
              <a:t>Policy </a:t>
            </a:r>
            <a:r>
              <a:rPr lang="de-CH" dirty="0" err="1"/>
              <a:t>instruments</a:t>
            </a:r>
            <a:endParaRPr lang="de-CH" dirty="0"/>
          </a:p>
        </p:txBody>
      </p:sp>
      <p:sp>
        <p:nvSpPr>
          <p:cNvPr id="3" name="Slide Number Placeholder 2">
            <a:extLst>
              <a:ext uri="{FF2B5EF4-FFF2-40B4-BE49-F238E27FC236}">
                <a16:creationId xmlns:a16="http://schemas.microsoft.com/office/drawing/2014/main" id="{799F9B20-10F4-5AC3-AF22-0CD420F1682B}"/>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4" name="Text Placeholder 3">
            <a:extLst>
              <a:ext uri="{FF2B5EF4-FFF2-40B4-BE49-F238E27FC236}">
                <a16:creationId xmlns:a16="http://schemas.microsoft.com/office/drawing/2014/main" id="{8DF5AA5E-A2CE-7D08-7E78-EB37E0F820EA}"/>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F7582DE-37A6-E1E9-A70B-79E8AFCD3E7C}"/>
              </a:ext>
            </a:extLst>
          </p:cNvPr>
          <p:cNvSpPr>
            <a:spLocks noGrp="1"/>
          </p:cNvSpPr>
          <p:nvPr>
            <p:ph type="body" sz="quarter" idx="13"/>
          </p:nvPr>
        </p:nvSpPr>
        <p:spPr>
          <a:xfrm>
            <a:off x="479425" y="2565400"/>
            <a:ext cx="11233150" cy="3455988"/>
          </a:xfrm>
        </p:spPr>
        <p:txBody>
          <a:bodyPr/>
          <a:lstStyle/>
          <a:p>
            <a:pPr marL="0" indent="0">
              <a:buNone/>
            </a:pPr>
            <a:r>
              <a:rPr lang="en-US" dirty="0"/>
              <a:t>… which can also be used in combination:</a:t>
            </a:r>
          </a:p>
          <a:p>
            <a:pPr marL="342900" indent="-342900">
              <a:buFont typeface="+mj-lt"/>
              <a:buAutoNum type="arabicPeriod"/>
            </a:pPr>
            <a:r>
              <a:rPr lang="en-US" b="1" dirty="0"/>
              <a:t>Market-based instruments</a:t>
            </a:r>
            <a:r>
              <a:rPr lang="en-US" dirty="0"/>
              <a:t> such as taxes and fees put a price tag on environmental resources that were previously treated as free goods. This is intended to lead to less environmentally harmful production methods, while the higher costs of environmentally damaging products are passed on to end consumers.</a:t>
            </a:r>
          </a:p>
          <a:p>
            <a:pPr marL="342900" indent="-342900">
              <a:buFont typeface="+mj-lt"/>
              <a:buAutoNum type="arabicPeriod"/>
            </a:pPr>
            <a:r>
              <a:rPr lang="en-US" b="1" dirty="0"/>
              <a:t>Regulatory instruments</a:t>
            </a:r>
            <a:r>
              <a:rPr lang="en-US" dirty="0"/>
              <a:t> directly influence consumption </a:t>
            </a:r>
            <a:r>
              <a:rPr lang="en-US" dirty="0" err="1"/>
              <a:t>behaviour</a:t>
            </a:r>
            <a:r>
              <a:rPr lang="en-US" dirty="0"/>
              <a:t> by restricting choice—for example by mandating technologies or banning certain activities.</a:t>
            </a:r>
          </a:p>
          <a:p>
            <a:pPr marL="342900" indent="-342900">
              <a:buFont typeface="+mj-lt"/>
              <a:buAutoNum type="arabicPeriod"/>
            </a:pPr>
            <a:r>
              <a:rPr lang="en-US" b="1" dirty="0" err="1"/>
              <a:t>Behavioural</a:t>
            </a:r>
            <a:r>
              <a:rPr lang="en-US" b="1" dirty="0"/>
              <a:t> interventions</a:t>
            </a:r>
            <a:r>
              <a:rPr lang="en-US" dirty="0"/>
              <a:t>, which include incentives, voluntary agreements, or nudging.</a:t>
            </a:r>
          </a:p>
          <a:p>
            <a:endParaRPr lang="de-CH" dirty="0"/>
          </a:p>
        </p:txBody>
      </p:sp>
      <p:sp>
        <p:nvSpPr>
          <p:cNvPr id="6" name="Text Placeholder 5">
            <a:extLst>
              <a:ext uri="{FF2B5EF4-FFF2-40B4-BE49-F238E27FC236}">
                <a16:creationId xmlns:a16="http://schemas.microsoft.com/office/drawing/2014/main" id="{7DF7CA89-27F9-DC87-8456-66726CF69803}"/>
              </a:ext>
            </a:extLst>
          </p:cNvPr>
          <p:cNvSpPr>
            <a:spLocks noGrp="1"/>
          </p:cNvSpPr>
          <p:nvPr>
            <p:ph type="body" sz="quarter" idx="12"/>
          </p:nvPr>
        </p:nvSpPr>
        <p:spPr>
          <a:xfrm>
            <a:off x="479424" y="1808163"/>
            <a:ext cx="11248542" cy="587375"/>
          </a:xfrm>
        </p:spPr>
        <p:txBody>
          <a:bodyPr/>
          <a:lstStyle/>
          <a:p>
            <a:pPr>
              <a:lnSpc>
                <a:spcPct val="110000"/>
              </a:lnSpc>
            </a:pPr>
            <a:r>
              <a:rPr lang="en-US" sz="2400" dirty="0"/>
              <a:t>Three types of policy instruments are available</a:t>
            </a:r>
            <a:endParaRPr lang="de-CH" sz="2400" dirty="0"/>
          </a:p>
        </p:txBody>
      </p:sp>
      <p:sp>
        <p:nvSpPr>
          <p:cNvPr id="8" name="Footer Placeholder 7">
            <a:extLst>
              <a:ext uri="{FF2B5EF4-FFF2-40B4-BE49-F238E27FC236}">
                <a16:creationId xmlns:a16="http://schemas.microsoft.com/office/drawing/2014/main" id="{E6A52FD3-28E0-1031-750E-21584209651B}"/>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0255388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2.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19C1BB8-243C-4CA7-95D4-9119225620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0</TotalTime>
  <Words>3588</Words>
  <Application>Microsoft Office PowerPoint</Application>
  <PresentationFormat>Widescreen</PresentationFormat>
  <Paragraphs>275</Paragraphs>
  <Slides>4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6" baseType="lpstr">
      <vt:lpstr>Arial</vt:lpstr>
      <vt:lpstr>Theinhardt-Regular</vt:lpstr>
      <vt:lpstr>Times</vt:lpstr>
      <vt:lpstr>Wingdings</vt:lpstr>
      <vt:lpstr>SNF</vt:lpstr>
      <vt:lpstr>think-cell Slide</vt:lpstr>
      <vt:lpstr>Synthesis : Policy Recommendations</vt:lpstr>
      <vt:lpstr>Synthesis: Policy recommendations</vt:lpstr>
      <vt:lpstr>Learning Objectives</vt:lpstr>
      <vt:lpstr>Overview of focus areas</vt:lpstr>
      <vt:lpstr>Policy recommendations derived from research findings</vt:lpstr>
      <vt:lpstr>Introductory Questions</vt:lpstr>
      <vt:lpstr>Links to the United Nations Sustainable Development Goals</vt:lpstr>
      <vt:lpstr>Principles</vt:lpstr>
      <vt:lpstr>Policy instruments</vt:lpstr>
      <vt:lpstr>Policy recommendations I  Based on the results of NFP 73, eight recommendations were developed for the Swiss government:</vt:lpstr>
      <vt:lpstr>Policy recommendations II  </vt:lpstr>
      <vt:lpstr>Policy recommendations III  </vt:lpstr>
      <vt:lpstr>Policy recommendations IV  </vt:lpstr>
      <vt:lpstr>Policy recommendations V  </vt:lpstr>
      <vt:lpstr>Specific policy recommendations</vt:lpstr>
      <vt:lpstr>Agriculture and Nutrition</vt:lpstr>
      <vt:lpstr>Agriculture and Nutrition – Assignment</vt:lpstr>
      <vt:lpstr>Agriculture and Nutrition – Recommendations I</vt:lpstr>
      <vt:lpstr>Agriculture and Nutrition – Recommendations II</vt:lpstr>
      <vt:lpstr>Circular ecnonomy</vt:lpstr>
      <vt:lpstr>Circular Economy – Assignment</vt:lpstr>
      <vt:lpstr>Circular economy – recommendations I</vt:lpstr>
      <vt:lpstr>Circular economy – recommendations II</vt:lpstr>
      <vt:lpstr>Building and Construction</vt:lpstr>
      <vt:lpstr>Building and Construction – Assignment</vt:lpstr>
      <vt:lpstr>Building and Construction – recommendation I</vt:lpstr>
      <vt:lpstr>Building and Construction – recommendation II</vt:lpstr>
      <vt:lpstr>Sustainable Behaviour</vt:lpstr>
      <vt:lpstr>Sustainable Behaviour – Assignment</vt:lpstr>
      <vt:lpstr>Sustainable Behaviour – Recommendation I</vt:lpstr>
      <vt:lpstr>Sustainable Behaviour – Recommendation II</vt:lpstr>
      <vt:lpstr>Forest Management</vt:lpstr>
      <vt:lpstr>Forest Management – Assignment</vt:lpstr>
      <vt:lpstr>Forest Management – Recommendations</vt:lpstr>
      <vt:lpstr>Final Discussion</vt:lpstr>
      <vt:lpstr>Appendix</vt:lpstr>
      <vt:lpstr>Sector-specific recommendations 874605 </vt:lpstr>
      <vt:lpstr>Further sources for in-depth study on the topic</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59</cp:revision>
  <dcterms:created xsi:type="dcterms:W3CDTF">2022-05-16T14:25:03Z</dcterms:created>
  <dcterms:modified xsi:type="dcterms:W3CDTF">2026-02-11T09:5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